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3"/>
  </p:notesMasterIdLst>
  <p:handoutMasterIdLst>
    <p:handoutMasterId r:id="rId14"/>
  </p:handoutMasterIdLst>
  <p:sldIdLst>
    <p:sldId id="1489" r:id="rId12"/>
  </p:sldIdLst>
  <p:sldSz cx="9144000" cy="5143500" type="screen16x9"/>
  <p:notesSz cx="14355763" cy="9926638"/>
  <p:custDataLst>
    <p:tags r:id="rId15"/>
  </p:custDataLst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489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4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C11F"/>
    <a:srgbClr val="ADD8F1"/>
    <a:srgbClr val="F39200"/>
    <a:srgbClr val="5FBFBB"/>
    <a:srgbClr val="FFE48F"/>
    <a:srgbClr val="FFDB69"/>
    <a:srgbClr val="9BBB59"/>
    <a:srgbClr val="00CC9B"/>
    <a:srgbClr val="27509B"/>
    <a:srgbClr val="FFFD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E4939F-10FC-4D86-97BD-5CB29B9F1AEF}" v="2" dt="2020-10-20T16:27:54.8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184" autoAdjust="0"/>
    <p:restoredTop sz="96327" autoAdjust="0"/>
  </p:normalViewPr>
  <p:slideViewPr>
    <p:cSldViewPr snapToGrid="0">
      <p:cViewPr varScale="1">
        <p:scale>
          <a:sx n="150" d="100"/>
          <a:sy n="150" d="100"/>
        </p:scale>
        <p:origin x="165" y="69"/>
      </p:cViewPr>
      <p:guideLst>
        <p:guide orient="horz" pos="1597"/>
        <p:guide pos="2426"/>
      </p:guideLst>
    </p:cSldViewPr>
  </p:slideViewPr>
  <p:outlineViewPr>
    <p:cViewPr>
      <p:scale>
        <a:sx n="33" d="100"/>
        <a:sy n="33" d="100"/>
      </p:scale>
      <p:origin x="0" y="8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2376" y="45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20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6873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Intentional vs Emergent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pPr marL="260158" indent="-260158">
              <a:buFont typeface="Arial" panose="020B0604020202020204" pitchFamily="34" charset="0"/>
              <a:buChar char="•"/>
            </a:pPr>
            <a:r>
              <a:rPr lang="en-US" sz="1800" dirty="0"/>
              <a:t>Emergent design alone is insufficient when developing large systems (can cause excessive rework, ….)</a:t>
            </a:r>
            <a:endParaRPr lang="fr-FR" sz="1800" dirty="0"/>
          </a:p>
          <a:p>
            <a:pPr marL="260158" indent="-260158">
              <a:buFont typeface="Arial" panose="020B0604020202020204" pitchFamily="34" charset="0"/>
              <a:buChar char="•"/>
            </a:pPr>
            <a:r>
              <a:rPr lang="en-US" sz="1800" dirty="0"/>
              <a:t>Intentional architecture constrains the emergent design, but at a high enough level of abstraction to allow the teams to effectively adapt the intentional part to their specific context. </a:t>
            </a:r>
            <a:endParaRPr lang="fr-FR" sz="1800" dirty="0"/>
          </a:p>
          <a:p>
            <a:pPr marL="260158" indent="-260158">
              <a:buFont typeface="Arial" panose="020B0604020202020204" pitchFamily="34" charset="0"/>
              <a:buChar char="•"/>
            </a:pPr>
            <a:r>
              <a:rPr lang="en-US" sz="1800" dirty="0"/>
              <a:t>At the same time, emergent design influences and corrects intentional architecture and also feeds new ideas for future, centralized, intentional effort.</a:t>
            </a:r>
          </a:p>
          <a:p>
            <a:pPr marL="260158" indent="-260158">
              <a:buFont typeface="Arial" panose="020B0604020202020204" pitchFamily="34" charset="0"/>
              <a:buChar char="•"/>
            </a:pPr>
            <a:endParaRPr lang="fr-FR" sz="1800" dirty="0"/>
          </a:p>
          <a:p>
            <a:r>
              <a:rPr lang="en-US" sz="1800" dirty="0"/>
              <a:t>Connect the dots:</a:t>
            </a:r>
            <a:endParaRPr lang="fr-FR" sz="1800" dirty="0"/>
          </a:p>
          <a:p>
            <a:pPr marL="260158" indent="-260158">
              <a:buFont typeface="Arial" panose="020B0604020202020204" pitchFamily="34" charset="0"/>
              <a:buChar char="•"/>
            </a:pPr>
            <a:r>
              <a:rPr lang="en-US" sz="1800" dirty="0"/>
              <a:t>The architect’s role is becoming more demanding because concerns that were previously confined to specialized domains need to be connected. </a:t>
            </a:r>
            <a:endParaRPr lang="fr-FR" sz="1800" dirty="0"/>
          </a:p>
          <a:p>
            <a:pPr marL="260158" indent="-260158">
              <a:buFont typeface="Arial" panose="020B0604020202020204" pitchFamily="34" charset="0"/>
              <a:buChar char="•"/>
            </a:pPr>
            <a:r>
              <a:rPr lang="en-US" sz="1800" dirty="0"/>
              <a:t>It required new skills for architects: make a lot of different specialist work together, problem solver, facilitation/animation,…</a:t>
            </a:r>
            <a:r>
              <a:rPr lang="fr-FR" u="none" dirty="0">
                <a:effectLst/>
              </a:rPr>
              <a:t> </a:t>
            </a:r>
            <a:r>
              <a:rPr lang="fr-FR" sz="1800" dirty="0"/>
              <a:t> Cela me </a:t>
            </a:r>
            <a:r>
              <a:rPr lang="fr-FR" sz="1800" dirty="0" err="1"/>
              <a:t>parrait</a:t>
            </a:r>
            <a:r>
              <a:rPr lang="fr-FR" sz="1800" dirty="0"/>
              <a:t> pas </a:t>
            </a:r>
            <a:r>
              <a:rPr lang="fr-FR" sz="1800" dirty="0" err="1"/>
              <a:t>tres</a:t>
            </a:r>
            <a:r>
              <a:rPr lang="fr-FR" sz="1800" dirty="0"/>
              <a:t> « key messages » ;-) a revoir</a:t>
            </a:r>
          </a:p>
          <a:p>
            <a:endParaRPr lang="fr-FR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EMERGENT INSUFFICIENT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INTENTIONAL AT HIGH LEVEL, TO ADAPT</a:t>
            </a:r>
            <a:endParaRPr lang="fr-FR" sz="1800" dirty="0"/>
          </a:p>
          <a:p>
            <a:r>
              <a:rPr lang="en-US" sz="1800" dirty="0"/>
              <a:t> </a:t>
            </a:r>
            <a:endParaRPr lang="fr-FR" sz="1800" dirty="0"/>
          </a:p>
          <a:p>
            <a:r>
              <a:rPr lang="en-US" sz="1800" dirty="0"/>
              <a:t>NEW IDEAS FROM EMERGENT</a:t>
            </a:r>
            <a:endParaRPr lang="fr-FR" sz="1800" dirty="0"/>
          </a:p>
          <a:p>
            <a:r>
              <a:rPr lang="en-US" sz="1800" dirty="0"/>
              <a:t>  </a:t>
            </a:r>
            <a:endParaRPr lang="fr-FR" sz="1800" dirty="0"/>
          </a:p>
          <a:p>
            <a:r>
              <a:rPr lang="en-US" sz="1800" dirty="0"/>
              <a:t>MORE DEMANDING ROLE</a:t>
            </a:r>
            <a:endParaRPr lang="fr-FR" sz="1800" dirty="0"/>
          </a:p>
          <a:p>
            <a:r>
              <a:rPr lang="en-US" sz="1800" dirty="0"/>
              <a:t>  </a:t>
            </a:r>
            <a:endParaRPr lang="fr-FR" sz="1800" dirty="0"/>
          </a:p>
          <a:p>
            <a:r>
              <a:rPr lang="en-US" sz="1800" dirty="0"/>
              <a:t>NEW SKILL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90200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2385" y="222917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321" y="4227180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81153" y="154662"/>
            <a:ext cx="2240866" cy="117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569" y="404113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514600" y="2037915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52" lvl="1"/>
            <a:endParaRPr lang="en-US" sz="1100" dirty="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4394" y="4046923"/>
            <a:ext cx="2021336" cy="118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2604910" y="2267024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382" y="469687"/>
            <a:ext cx="5539619" cy="3966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3946" y="668868"/>
            <a:ext cx="3500054" cy="2042256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370673"/>
            <a:ext cx="3386571" cy="2547558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2596444" y="2058385"/>
            <a:ext cx="3951112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7847" y="4038680"/>
            <a:ext cx="2049105" cy="120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843148" y="655309"/>
            <a:ext cx="7965127" cy="4102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20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0" y="-892"/>
            <a:ext cx="760151" cy="2146991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80075" y="1330455"/>
            <a:ext cx="8443291" cy="3308219"/>
          </a:xfrm>
          <a:prstGeom prst="rect">
            <a:avLst/>
          </a:prstGeom>
        </p:spPr>
        <p:txBody>
          <a:bodyPr>
            <a:normAutofit/>
          </a:bodyPr>
          <a:lstStyle>
            <a:lvl1pPr marL="252413" indent="-252413">
              <a:buClr>
                <a:schemeClr val="bg2"/>
              </a:buClr>
              <a:buFontTx/>
              <a:buBlip>
                <a:blip r:embed="rId2"/>
              </a:buBlip>
              <a:defRPr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25475" indent="-266700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98525" indent="-273050">
              <a:buClr>
                <a:schemeClr val="accent2"/>
              </a:buClr>
              <a:buFont typeface="Arial" panose="020B0604020202020204" pitchFamily="34" charset="0"/>
              <a:buChar char="•"/>
              <a:defRPr sz="160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828000" y="72000"/>
            <a:ext cx="7983491" cy="56838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0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8140" y="4600563"/>
            <a:ext cx="1160047" cy="5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380075" y="4903559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60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60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rgbClr val="27509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7509B"/>
              </a:buClr>
              <a:buFont typeface="Wingdings" charset="2"/>
              <a:buChar char=""/>
              <a:defRPr sz="2000" b="1" i="1" baseline="0">
                <a:solidFill>
                  <a:srgbClr val="27509B"/>
                </a:solidFill>
              </a:defRPr>
            </a:lvl1pPr>
            <a:lvl2pPr marL="742950" indent="-28575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7509B"/>
              </a:buClr>
              <a:buFont typeface="Arial" panose="020B0604020202020204" pitchFamily="34" charset="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7509B"/>
              </a:buClr>
              <a:buFont typeface="Lucida Grande"/>
              <a:buChar char="▸"/>
              <a:defRPr sz="1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7509B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274302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564951"/>
            <a:ext cx="8229600" cy="218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2" y="531083"/>
            <a:ext cx="95552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600" y="2552700"/>
            <a:ext cx="38100" cy="28575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57200" y="1152071"/>
            <a:ext cx="8229600" cy="344255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FFE500"/>
              </a:buClr>
              <a:buFont typeface="Wingdings" charset="2"/>
              <a:buChar char=""/>
              <a:defRPr sz="2000" b="1" i="1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1800" b="1">
                <a:solidFill>
                  <a:schemeClr val="bg1"/>
                </a:solidFill>
              </a:defRPr>
            </a:lvl2pPr>
            <a:lvl3pPr marL="1143000" indent="-228600">
              <a:buClr>
                <a:srgbClr val="FFE500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3pPr>
            <a:lvl4pPr marL="1600200" indent="-228600">
              <a:buClr>
                <a:srgbClr val="FFE500"/>
              </a:buClr>
              <a:buFont typeface="Lucida Grande"/>
              <a:buChar char="▸"/>
              <a:defRPr sz="1400" i="1">
                <a:solidFill>
                  <a:schemeClr val="bg1"/>
                </a:solidFill>
              </a:defRPr>
            </a:lvl4pPr>
            <a:lvl5pPr marL="2057400" indent="-228600">
              <a:buClr>
                <a:srgbClr val="FFE500"/>
              </a:buClr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0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3344331" cy="51435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044244" y="2058385"/>
            <a:ext cx="3951112" cy="1120244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4970026"/>
          <a:ext cx="6604001" cy="180044"/>
        </p:xfrm>
        <a:graphic>
          <a:graphicData uri="http://schemas.openxmlformats.org/drawingml/2006/table">
            <a:tbl>
              <a:tblPr/>
              <a:tblGrid>
                <a:gridCol w="2469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09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3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2310" y="157119"/>
            <a:ext cx="2215108" cy="130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141" y="4231898"/>
            <a:ext cx="1775673" cy="919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1980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8631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09728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455331" y="1927844"/>
            <a:ext cx="4114800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1" y="4970026"/>
          <a:ext cx="6612760" cy="180044"/>
        </p:xfrm>
        <a:graphic>
          <a:graphicData uri="http://schemas.openxmlformats.org/drawingml/2006/table">
            <a:tbl>
              <a:tblPr/>
              <a:tblGrid>
                <a:gridCol w="2294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6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7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22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0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T="34290" marB="34290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5911" y="4004875"/>
            <a:ext cx="2068433" cy="108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9729" y="-110363"/>
            <a:ext cx="207327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4891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3087290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702741" y="2234766"/>
            <a:ext cx="5738518" cy="675043"/>
          </a:xfrm>
          <a:prstGeom prst="rect">
            <a:avLst/>
          </a:prstGeom>
        </p:spPr>
        <p:txBody>
          <a:bodyPr/>
          <a:lstStyle>
            <a:lvl1pPr>
              <a:defRPr sz="30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14588" y="4970026"/>
            <a:ext cx="329412" cy="1800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3675" y="4031358"/>
            <a:ext cx="1813463" cy="938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18" Type="http://schemas.openxmlformats.org/officeDocument/2006/relationships/image" Target="../media/image35.png"/><Relationship Id="rId3" Type="http://schemas.openxmlformats.org/officeDocument/2006/relationships/image" Target="../media/image21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17" Type="http://schemas.openxmlformats.org/officeDocument/2006/relationships/image" Target="../media/image34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3.png"/><Relationship Id="rId20" Type="http://schemas.openxmlformats.org/officeDocument/2006/relationships/image" Target="../media/image37.emf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19" Type="http://schemas.openxmlformats.org/officeDocument/2006/relationships/image" Target="../media/image36.png"/><Relationship Id="rId4" Type="http://schemas.microsoft.com/office/2007/relationships/hdphoto" Target="../media/hdphoto1.wdp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" name="Ellipse 674">
            <a:extLst>
              <a:ext uri="{FF2B5EF4-FFF2-40B4-BE49-F238E27FC236}">
                <a16:creationId xmlns:a16="http://schemas.microsoft.com/office/drawing/2014/main" id="{B5C62538-8C63-485C-AA22-CB0A4798BC72}"/>
              </a:ext>
            </a:extLst>
          </p:cNvPr>
          <p:cNvSpPr/>
          <p:nvPr/>
        </p:nvSpPr>
        <p:spPr>
          <a:xfrm>
            <a:off x="6058955" y="312582"/>
            <a:ext cx="2832164" cy="1279530"/>
          </a:xfrm>
          <a:custGeom>
            <a:avLst/>
            <a:gdLst>
              <a:gd name="connsiteX0" fmla="*/ 0 w 2832164"/>
              <a:gd name="connsiteY0" fmla="*/ 639765 h 1279530"/>
              <a:gd name="connsiteX1" fmla="*/ 1416082 w 2832164"/>
              <a:gd name="connsiteY1" fmla="*/ 0 h 1279530"/>
              <a:gd name="connsiteX2" fmla="*/ 2832164 w 2832164"/>
              <a:gd name="connsiteY2" fmla="*/ 639765 h 1279530"/>
              <a:gd name="connsiteX3" fmla="*/ 1416082 w 2832164"/>
              <a:gd name="connsiteY3" fmla="*/ 1279530 h 1279530"/>
              <a:gd name="connsiteX4" fmla="*/ 0 w 2832164"/>
              <a:gd name="connsiteY4" fmla="*/ 639765 h 1279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2164" h="1279530" extrusionOk="0">
                <a:moveTo>
                  <a:pt x="0" y="639765"/>
                </a:moveTo>
                <a:cubicBezTo>
                  <a:pt x="-58650" y="250257"/>
                  <a:pt x="614760" y="7222"/>
                  <a:pt x="1416082" y="0"/>
                </a:cubicBezTo>
                <a:cubicBezTo>
                  <a:pt x="2276125" y="16413"/>
                  <a:pt x="2773368" y="288303"/>
                  <a:pt x="2832164" y="639765"/>
                </a:cubicBezTo>
                <a:cubicBezTo>
                  <a:pt x="2718409" y="1104185"/>
                  <a:pt x="2174874" y="1408248"/>
                  <a:pt x="1416082" y="1279530"/>
                </a:cubicBezTo>
                <a:cubicBezTo>
                  <a:pt x="579826" y="1249889"/>
                  <a:pt x="11193" y="998445"/>
                  <a:pt x="0" y="639765"/>
                </a:cubicBezTo>
                <a:close/>
              </a:path>
            </a:pathLst>
          </a:custGeom>
          <a:noFill/>
          <a:ln w="28575" cmpd="dbl">
            <a:solidFill>
              <a:schemeClr val="accent3"/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F11D73CC-AD4D-4E70-9D40-1D73B26D17ED}"/>
              </a:ext>
            </a:extLst>
          </p:cNvPr>
          <p:cNvSpPr/>
          <p:nvPr/>
        </p:nvSpPr>
        <p:spPr>
          <a:xfrm rot="21439067">
            <a:off x="3213510" y="3212440"/>
            <a:ext cx="2106360" cy="1169545"/>
          </a:xfrm>
          <a:prstGeom prst="ellipse">
            <a:avLst/>
          </a:prstGeom>
          <a:solidFill>
            <a:srgbClr val="FFC000">
              <a:alpha val="69000"/>
            </a:srgbClr>
          </a:solidFill>
          <a:ln w="57150" cmpd="dbl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1064" tIns="160532" rIns="321064" bIns="160532" anchor="ctr"/>
          <a:lstStyle/>
          <a:p>
            <a:pPr algn="ctr" defTabSz="4176431"/>
            <a:endParaRPr lang="fr-FR" sz="6000"/>
          </a:p>
        </p:txBody>
      </p:sp>
      <p:sp>
        <p:nvSpPr>
          <p:cNvPr id="320" name="ZoneTexte 319">
            <a:extLst>
              <a:ext uri="{FF2B5EF4-FFF2-40B4-BE49-F238E27FC236}">
                <a16:creationId xmlns:a16="http://schemas.microsoft.com/office/drawing/2014/main" id="{C7A804D7-9604-4D98-B512-795E2655039D}"/>
              </a:ext>
            </a:extLst>
          </p:cNvPr>
          <p:cNvSpPr txBox="1"/>
          <p:nvPr/>
        </p:nvSpPr>
        <p:spPr>
          <a:xfrm rot="16200000">
            <a:off x="567550" y="2462257"/>
            <a:ext cx="1967679" cy="212513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helin Black" panose="02000000000000000000" pitchFamily="50" charset="0"/>
              </a:rPr>
              <a:t>CLASSIC ARCHITECTURE</a:t>
            </a:r>
          </a:p>
        </p:txBody>
      </p:sp>
      <p:grpSp>
        <p:nvGrpSpPr>
          <p:cNvPr id="326" name="Groupe 325">
            <a:extLst>
              <a:ext uri="{FF2B5EF4-FFF2-40B4-BE49-F238E27FC236}">
                <a16:creationId xmlns:a16="http://schemas.microsoft.com/office/drawing/2014/main" id="{63E5DEC9-7E54-4829-8620-A56F03843798}"/>
              </a:ext>
            </a:extLst>
          </p:cNvPr>
          <p:cNvGrpSpPr/>
          <p:nvPr/>
        </p:nvGrpSpPr>
        <p:grpSpPr>
          <a:xfrm>
            <a:off x="3361384" y="1881343"/>
            <a:ext cx="3985937" cy="619081"/>
            <a:chOff x="2635624" y="2434964"/>
            <a:chExt cx="5282004" cy="717279"/>
          </a:xfrm>
          <a:effectLst/>
        </p:grpSpPr>
        <p:cxnSp>
          <p:nvCxnSpPr>
            <p:cNvPr id="327" name="Connecteur droit 326">
              <a:extLst>
                <a:ext uri="{FF2B5EF4-FFF2-40B4-BE49-F238E27FC236}">
                  <a16:creationId xmlns:a16="http://schemas.microsoft.com/office/drawing/2014/main" id="{1697AA13-C1D4-4767-A67B-6C5BBB47E50A}"/>
                </a:ext>
              </a:extLst>
            </p:cNvPr>
            <p:cNvCxnSpPr/>
            <p:nvPr/>
          </p:nvCxnSpPr>
          <p:spPr>
            <a:xfrm flipV="1">
              <a:off x="2635624" y="2867340"/>
              <a:ext cx="768468" cy="284903"/>
            </a:xfrm>
            <a:prstGeom prst="line">
              <a:avLst/>
            </a:prstGeom>
            <a:ln w="44450">
              <a:headEnd type="oval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Connecteur droit 327">
              <a:extLst>
                <a:ext uri="{FF2B5EF4-FFF2-40B4-BE49-F238E27FC236}">
                  <a16:creationId xmlns:a16="http://schemas.microsoft.com/office/drawing/2014/main" id="{0AD9E947-6920-40FE-9E76-DD39DFDCEC1E}"/>
                </a:ext>
              </a:extLst>
            </p:cNvPr>
            <p:cNvCxnSpPr/>
            <p:nvPr/>
          </p:nvCxnSpPr>
          <p:spPr>
            <a:xfrm>
              <a:off x="3397624" y="2867340"/>
              <a:ext cx="457200" cy="152401"/>
            </a:xfrm>
            <a:prstGeom prst="line">
              <a:avLst/>
            </a:prstGeom>
            <a:ln w="44450">
              <a:headEnd type="oval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Connecteur droit 328">
              <a:extLst>
                <a:ext uri="{FF2B5EF4-FFF2-40B4-BE49-F238E27FC236}">
                  <a16:creationId xmlns:a16="http://schemas.microsoft.com/office/drawing/2014/main" id="{A0347CC5-97D3-4B49-80F4-131B398AE73D}"/>
                </a:ext>
              </a:extLst>
            </p:cNvPr>
            <p:cNvCxnSpPr/>
            <p:nvPr/>
          </p:nvCxnSpPr>
          <p:spPr>
            <a:xfrm flipV="1">
              <a:off x="3854824" y="2734838"/>
              <a:ext cx="768468" cy="284903"/>
            </a:xfrm>
            <a:prstGeom prst="line">
              <a:avLst/>
            </a:prstGeom>
            <a:ln w="44450">
              <a:headEnd type="oval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Connecteur droit 329">
              <a:extLst>
                <a:ext uri="{FF2B5EF4-FFF2-40B4-BE49-F238E27FC236}">
                  <a16:creationId xmlns:a16="http://schemas.microsoft.com/office/drawing/2014/main" id="{CD0008DE-77D3-4218-82E2-4EB02E32C32A}"/>
                </a:ext>
              </a:extLst>
            </p:cNvPr>
            <p:cNvCxnSpPr/>
            <p:nvPr/>
          </p:nvCxnSpPr>
          <p:spPr>
            <a:xfrm>
              <a:off x="4623292" y="2734838"/>
              <a:ext cx="569803" cy="220969"/>
            </a:xfrm>
            <a:prstGeom prst="line">
              <a:avLst/>
            </a:prstGeom>
            <a:ln w="44450">
              <a:headEnd type="oval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1" name="Connecteur droit 330">
              <a:extLst>
                <a:ext uri="{FF2B5EF4-FFF2-40B4-BE49-F238E27FC236}">
                  <a16:creationId xmlns:a16="http://schemas.microsoft.com/office/drawing/2014/main" id="{A18FC227-8C30-4B2E-A200-E25D26649BEF}"/>
                </a:ext>
              </a:extLst>
            </p:cNvPr>
            <p:cNvCxnSpPr/>
            <p:nvPr/>
          </p:nvCxnSpPr>
          <p:spPr>
            <a:xfrm flipV="1">
              <a:off x="5193095" y="2840499"/>
              <a:ext cx="548991" cy="115308"/>
            </a:xfrm>
            <a:prstGeom prst="line">
              <a:avLst/>
            </a:prstGeom>
            <a:ln w="44450">
              <a:solidFill>
                <a:schemeClr val="accent1">
                  <a:lumMod val="60000"/>
                  <a:lumOff val="40000"/>
                </a:schemeClr>
              </a:solidFill>
              <a:headEnd type="oval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2" name="Connecteur droit 331">
              <a:extLst>
                <a:ext uri="{FF2B5EF4-FFF2-40B4-BE49-F238E27FC236}">
                  <a16:creationId xmlns:a16="http://schemas.microsoft.com/office/drawing/2014/main" id="{D4DBA70D-E0D0-4CDF-8BDB-CEAF294C220D}"/>
                </a:ext>
              </a:extLst>
            </p:cNvPr>
            <p:cNvCxnSpPr/>
            <p:nvPr/>
          </p:nvCxnSpPr>
          <p:spPr>
            <a:xfrm flipV="1">
              <a:off x="5742086" y="2434964"/>
              <a:ext cx="768468" cy="405535"/>
            </a:xfrm>
            <a:prstGeom prst="line">
              <a:avLst/>
            </a:prstGeom>
            <a:ln w="44450">
              <a:solidFill>
                <a:schemeClr val="accent1">
                  <a:lumMod val="60000"/>
                  <a:lumOff val="40000"/>
                </a:schemeClr>
              </a:solidFill>
              <a:headEnd type="oval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Connecteur droit 332">
              <a:extLst>
                <a:ext uri="{FF2B5EF4-FFF2-40B4-BE49-F238E27FC236}">
                  <a16:creationId xmlns:a16="http://schemas.microsoft.com/office/drawing/2014/main" id="{67DF01F7-0F32-4D47-984B-2809C5681950}"/>
                </a:ext>
              </a:extLst>
            </p:cNvPr>
            <p:cNvCxnSpPr/>
            <p:nvPr/>
          </p:nvCxnSpPr>
          <p:spPr>
            <a:xfrm>
              <a:off x="6510554" y="2434964"/>
              <a:ext cx="448780" cy="244440"/>
            </a:xfrm>
            <a:prstGeom prst="line">
              <a:avLst/>
            </a:prstGeom>
            <a:ln w="44450">
              <a:solidFill>
                <a:schemeClr val="accent1">
                  <a:lumMod val="40000"/>
                  <a:lumOff val="60000"/>
                </a:schemeClr>
              </a:solidFill>
              <a:headEnd type="oval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4" name="Connecteur droit 333">
              <a:extLst>
                <a:ext uri="{FF2B5EF4-FFF2-40B4-BE49-F238E27FC236}">
                  <a16:creationId xmlns:a16="http://schemas.microsoft.com/office/drawing/2014/main" id="{D4CD1F4B-15F5-4A8F-8098-CCBAF739934E}"/>
                </a:ext>
              </a:extLst>
            </p:cNvPr>
            <p:cNvCxnSpPr/>
            <p:nvPr/>
          </p:nvCxnSpPr>
          <p:spPr>
            <a:xfrm flipV="1">
              <a:off x="6959334" y="2476636"/>
              <a:ext cx="958294" cy="202769"/>
            </a:xfrm>
            <a:prstGeom prst="line">
              <a:avLst/>
            </a:prstGeom>
            <a:ln w="44450">
              <a:solidFill>
                <a:schemeClr val="accent1">
                  <a:lumMod val="40000"/>
                  <a:lumOff val="60000"/>
                </a:schemeClr>
              </a:solidFill>
              <a:headEnd type="oval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37" name="Connecteur droit 336">
            <a:extLst>
              <a:ext uri="{FF2B5EF4-FFF2-40B4-BE49-F238E27FC236}">
                <a16:creationId xmlns:a16="http://schemas.microsoft.com/office/drawing/2014/main" id="{B656623D-F867-4BA8-A302-9D6F28C2AC16}"/>
              </a:ext>
            </a:extLst>
          </p:cNvPr>
          <p:cNvCxnSpPr/>
          <p:nvPr/>
        </p:nvCxnSpPr>
        <p:spPr>
          <a:xfrm>
            <a:off x="4297417" y="2377822"/>
            <a:ext cx="614351" cy="128540"/>
          </a:xfrm>
          <a:prstGeom prst="line">
            <a:avLst/>
          </a:prstGeom>
          <a:ln w="44450">
            <a:prstDash val="sysDot"/>
            <a:headEnd type="oval"/>
            <a:tailEnd type="oval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Connecteur droit 337">
            <a:extLst>
              <a:ext uri="{FF2B5EF4-FFF2-40B4-BE49-F238E27FC236}">
                <a16:creationId xmlns:a16="http://schemas.microsoft.com/office/drawing/2014/main" id="{F60FD85D-17A8-4152-B0A4-7B240198C97C}"/>
              </a:ext>
            </a:extLst>
          </p:cNvPr>
          <p:cNvCxnSpPr/>
          <p:nvPr/>
        </p:nvCxnSpPr>
        <p:spPr>
          <a:xfrm flipV="1">
            <a:off x="4905214" y="2321313"/>
            <a:ext cx="402097" cy="182698"/>
          </a:xfrm>
          <a:prstGeom prst="line">
            <a:avLst/>
          </a:prstGeom>
          <a:ln w="44450">
            <a:prstDash val="sysDot"/>
            <a:headEnd type="oval"/>
            <a:tailEnd type="oval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4" name="ZoneTexte 343">
            <a:extLst>
              <a:ext uri="{FF2B5EF4-FFF2-40B4-BE49-F238E27FC236}">
                <a16:creationId xmlns:a16="http://schemas.microsoft.com/office/drawing/2014/main" id="{D2F146B5-E363-43F9-965F-2B01033F1A51}"/>
              </a:ext>
            </a:extLst>
          </p:cNvPr>
          <p:cNvSpPr txBox="1"/>
          <p:nvPr/>
        </p:nvSpPr>
        <p:spPr>
          <a:xfrm>
            <a:off x="6977561" y="2768276"/>
            <a:ext cx="506654" cy="29220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S /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chemeClr val="bg1">
                    <a:lumMod val="50000"/>
                  </a:schemeClr>
                </a:solidFill>
                <a:latin typeface="Calibri"/>
              </a:rPr>
              <a:t>SUPPORT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46" name="Rectangle 296077">
            <a:extLst>
              <a:ext uri="{FF2B5EF4-FFF2-40B4-BE49-F238E27FC236}">
                <a16:creationId xmlns:a16="http://schemas.microsoft.com/office/drawing/2014/main" id="{8DC60298-5943-4175-AF17-99239221961E}"/>
              </a:ext>
            </a:extLst>
          </p:cNvPr>
          <p:cNvSpPr txBox="1"/>
          <p:nvPr/>
        </p:nvSpPr>
        <p:spPr>
          <a:xfrm>
            <a:off x="5458179" y="3416338"/>
            <a:ext cx="3110727" cy="728306"/>
          </a:xfrm>
          <a:prstGeom prst="rect">
            <a:avLst/>
          </a:prstGeom>
          <a:solidFill>
            <a:srgbClr val="FFC000"/>
          </a:solidFill>
          <a:ln w="19050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vert="horz" wrap="square" lIns="71071" tIns="71071" rIns="71071" bIns="71071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bg1"/>
                </a:solidFill>
                <a:latin typeface="Michelin Black" panose="02000000000000000000" pitchFamily="50" charset="0"/>
              </a:rPr>
              <a:t>Emergent Design</a:t>
            </a:r>
          </a:p>
          <a:p>
            <a:pPr defTabSz="1193643">
              <a:buClr>
                <a:srgbClr val="1F497D"/>
              </a:buClr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essary 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lutionary and incremental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to ensure squads are </a:t>
            </a:r>
            <a:r>
              <a:rPr lang="en-US" sz="9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ive</a:t>
            </a: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ings end-users/stakeholders needs.</a:t>
            </a:r>
          </a:p>
        </p:txBody>
      </p:sp>
      <p:pic>
        <p:nvPicPr>
          <p:cNvPr id="347" name="Picture 2">
            <a:extLst>
              <a:ext uri="{FF2B5EF4-FFF2-40B4-BE49-F238E27FC236}">
                <a16:creationId xmlns:a16="http://schemas.microsoft.com/office/drawing/2014/main" id="{68FCD8F8-98D5-4F98-8E0E-F179985154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0281068" flipH="1">
            <a:off x="3292326" y="1739902"/>
            <a:ext cx="393365" cy="530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" name="Picture 2">
            <a:extLst>
              <a:ext uri="{FF2B5EF4-FFF2-40B4-BE49-F238E27FC236}">
                <a16:creationId xmlns:a16="http://schemas.microsoft.com/office/drawing/2014/main" id="{B10B3413-56B0-4825-9B5D-5AE6ABF099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9399663" flipH="1">
            <a:off x="4073786" y="2664331"/>
            <a:ext cx="393365" cy="530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4" name="ZoneTexte 353">
            <a:extLst>
              <a:ext uri="{FF2B5EF4-FFF2-40B4-BE49-F238E27FC236}">
                <a16:creationId xmlns:a16="http://schemas.microsoft.com/office/drawing/2014/main" id="{10768200-BE47-4535-AE2D-B865CE970F39}"/>
              </a:ext>
            </a:extLst>
          </p:cNvPr>
          <p:cNvSpPr txBox="1"/>
          <p:nvPr/>
        </p:nvSpPr>
        <p:spPr>
          <a:xfrm rot="16829998">
            <a:off x="3344894" y="1928727"/>
            <a:ext cx="655949" cy="230832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dirty="0">
                <a:solidFill>
                  <a:prstClr val="white">
                    <a:lumMod val="50000"/>
                  </a:prstClr>
                </a:solidFill>
                <a:latin typeface="Calibri"/>
              </a:rPr>
              <a:t>High level</a:t>
            </a:r>
          </a:p>
        </p:txBody>
      </p:sp>
      <p:sp>
        <p:nvSpPr>
          <p:cNvPr id="355" name="ZoneTexte 354">
            <a:extLst>
              <a:ext uri="{FF2B5EF4-FFF2-40B4-BE49-F238E27FC236}">
                <a16:creationId xmlns:a16="http://schemas.microsoft.com/office/drawing/2014/main" id="{019DB1CE-C478-4C3C-AE62-F758B3E487DA}"/>
              </a:ext>
            </a:extLst>
          </p:cNvPr>
          <p:cNvSpPr txBox="1"/>
          <p:nvPr/>
        </p:nvSpPr>
        <p:spPr>
          <a:xfrm rot="17351464">
            <a:off x="4165077" y="2799253"/>
            <a:ext cx="686406" cy="230832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edbacks</a:t>
            </a:r>
          </a:p>
        </p:txBody>
      </p:sp>
      <p:pic>
        <p:nvPicPr>
          <p:cNvPr id="359" name="Picture 2">
            <a:extLst>
              <a:ext uri="{FF2B5EF4-FFF2-40B4-BE49-F238E27FC236}">
                <a16:creationId xmlns:a16="http://schemas.microsoft.com/office/drawing/2014/main" id="{1DC85084-4DFF-4105-BB29-F85B7EB015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7102903" flipH="1">
            <a:off x="6655821" y="2380253"/>
            <a:ext cx="399210" cy="53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0" name="ZoneTexte 359">
            <a:extLst>
              <a:ext uri="{FF2B5EF4-FFF2-40B4-BE49-F238E27FC236}">
                <a16:creationId xmlns:a16="http://schemas.microsoft.com/office/drawing/2014/main" id="{1188BEDE-29DC-48D2-9ACE-41539A2189A4}"/>
              </a:ext>
            </a:extLst>
          </p:cNvPr>
          <p:cNvSpPr txBox="1"/>
          <p:nvPr/>
        </p:nvSpPr>
        <p:spPr>
          <a:xfrm rot="2714448">
            <a:off x="6607895" y="2226657"/>
            <a:ext cx="806631" cy="369332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formance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erability</a:t>
            </a:r>
          </a:p>
        </p:txBody>
      </p:sp>
      <p:grpSp>
        <p:nvGrpSpPr>
          <p:cNvPr id="11" name="Groupe 10"/>
          <p:cNvGrpSpPr/>
          <p:nvPr/>
        </p:nvGrpSpPr>
        <p:grpSpPr>
          <a:xfrm>
            <a:off x="6064935" y="758669"/>
            <a:ext cx="707245" cy="586344"/>
            <a:chOff x="4988627" y="1314765"/>
            <a:chExt cx="707245" cy="586344"/>
          </a:xfrm>
        </p:grpSpPr>
        <p:grpSp>
          <p:nvGrpSpPr>
            <p:cNvPr id="362" name="Groupe 1289">
              <a:extLst>
                <a:ext uri="{FF2B5EF4-FFF2-40B4-BE49-F238E27FC236}">
                  <a16:creationId xmlns:a16="http://schemas.microsoft.com/office/drawing/2014/main" id="{F44D4527-507A-46C5-9378-EF8CADE3D5C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28083" y="1314765"/>
              <a:ext cx="399601" cy="395965"/>
              <a:chOff x="2335614" y="3820290"/>
              <a:chExt cx="653239" cy="560864"/>
            </a:xfrm>
            <a:effectLst/>
          </p:grpSpPr>
          <p:sp>
            <p:nvSpPr>
              <p:cNvPr id="363" name="Ellipse 362">
                <a:extLst>
                  <a:ext uri="{FF2B5EF4-FFF2-40B4-BE49-F238E27FC236}">
                    <a16:creationId xmlns:a16="http://schemas.microsoft.com/office/drawing/2014/main" id="{C924888F-3AE4-4D2C-8D96-520E1E4E4167}"/>
                  </a:ext>
                </a:extLst>
              </p:cNvPr>
              <p:cNvSpPr/>
              <p:nvPr/>
            </p:nvSpPr>
            <p:spPr bwMode="auto">
              <a:xfrm>
                <a:off x="2335614" y="3917291"/>
                <a:ext cx="653239" cy="463863"/>
              </a:xfrm>
              <a:prstGeom prst="ellipse">
                <a:avLst/>
              </a:prstGeom>
              <a:solidFill>
                <a:srgbClr val="00A19A"/>
              </a:solidFill>
              <a:ln w="76200">
                <a:noFill/>
                <a:round/>
                <a:headEnd/>
                <a:tailEnd/>
              </a:ln>
              <a:effectLst>
                <a:outerShdw blurRad="419100" dist="38100" dir="5400000" sx="107000" sy="107000" algn="t" rotWithShape="0">
                  <a:prstClr val="black">
                    <a:alpha val="34000"/>
                  </a:prstClr>
                </a:outerShdw>
              </a:effectLst>
              <a:scene3d>
                <a:camera prst="perspectiveRelaxedModerately">
                  <a:rot lat="17390630" lon="0" rev="0"/>
                </a:camera>
                <a:lightRig rig="threePt" dir="t"/>
              </a:scene3d>
              <a:sp3d extrusionH="44450" prstMaterial="matte"/>
            </p:spPr>
            <p:txBody>
              <a:bodyPr lIns="0" tIns="0" rIns="0" bIns="0" anchor="ctr"/>
              <a:lstStyle/>
              <a:p>
                <a:pPr algn="ctr" defTabSz="914378" eaLnBrk="1" fontAlgn="auto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8000" b="1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364" name="_effect" descr="C:\Users\marc.h\Desktop\Schatten-TEST.png">
                <a:extLst>
                  <a:ext uri="{FF2B5EF4-FFF2-40B4-BE49-F238E27FC236}">
                    <a16:creationId xmlns:a16="http://schemas.microsoft.com/office/drawing/2014/main" id="{6D05AC34-FD5A-436D-9515-938C8810D78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 flipH="1">
                <a:off x="2441403" y="4131921"/>
                <a:ext cx="441661" cy="66320"/>
              </a:xfrm>
              <a:prstGeom prst="rect">
                <a:avLst/>
              </a:prstGeom>
              <a:solidFill>
                <a:srgbClr val="00A19A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</p:pic>
          <p:grpSp>
            <p:nvGrpSpPr>
              <p:cNvPr id="365" name="Gruppieren 96">
                <a:extLst>
                  <a:ext uri="{FF2B5EF4-FFF2-40B4-BE49-F238E27FC236}">
                    <a16:creationId xmlns:a16="http://schemas.microsoft.com/office/drawing/2014/main" id="{81922F30-7F74-4BC0-B643-E18170454548}"/>
                  </a:ext>
                </a:extLst>
              </p:cNvPr>
              <p:cNvGrpSpPr/>
              <p:nvPr/>
            </p:nvGrpSpPr>
            <p:grpSpPr>
              <a:xfrm>
                <a:off x="2435114" y="3833767"/>
                <a:ext cx="159492" cy="328959"/>
                <a:chOff x="2519371" y="955678"/>
                <a:chExt cx="1695457" cy="4968890"/>
              </a:xfrm>
              <a:solidFill>
                <a:schemeClr val="tx1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404" name="Freeform 156">
                  <a:extLst>
                    <a:ext uri="{FF2B5EF4-FFF2-40B4-BE49-F238E27FC236}">
                      <a16:creationId xmlns:a16="http://schemas.microsoft.com/office/drawing/2014/main" id="{C033F04F-EAE0-4F15-BA5B-D8A9BD0AF3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84626" y="3435360"/>
                  <a:ext cx="269878" cy="404813"/>
                </a:xfrm>
                <a:custGeom>
                  <a:avLst/>
                  <a:gdLst>
                    <a:gd name="T0" fmla="*/ 29 w 72"/>
                    <a:gd name="T1" fmla="*/ 0 h 108"/>
                    <a:gd name="T2" fmla="*/ 37 w 72"/>
                    <a:gd name="T3" fmla="*/ 0 h 108"/>
                    <a:gd name="T4" fmla="*/ 68 w 72"/>
                    <a:gd name="T5" fmla="*/ 6 h 108"/>
                    <a:gd name="T6" fmla="*/ 70 w 72"/>
                    <a:gd name="T7" fmla="*/ 58 h 108"/>
                    <a:gd name="T8" fmla="*/ 60 w 72"/>
                    <a:gd name="T9" fmla="*/ 78 h 108"/>
                    <a:gd name="T10" fmla="*/ 14 w 72"/>
                    <a:gd name="T11" fmla="*/ 108 h 108"/>
                    <a:gd name="T12" fmla="*/ 5 w 72"/>
                    <a:gd name="T13" fmla="*/ 102 h 108"/>
                    <a:gd name="T14" fmla="*/ 13 w 72"/>
                    <a:gd name="T15" fmla="*/ 80 h 108"/>
                    <a:gd name="T16" fmla="*/ 15 w 72"/>
                    <a:gd name="T17" fmla="*/ 6 h 108"/>
                    <a:gd name="T18" fmla="*/ 29 w 72"/>
                    <a:gd name="T19" fmla="*/ 0 h 108"/>
                    <a:gd name="T20" fmla="*/ 28 w 72"/>
                    <a:gd name="T21" fmla="*/ 81 h 108"/>
                    <a:gd name="T22" fmla="*/ 41 w 72"/>
                    <a:gd name="T23" fmla="*/ 53 h 108"/>
                    <a:gd name="T24" fmla="*/ 33 w 72"/>
                    <a:gd name="T25" fmla="*/ 51 h 108"/>
                    <a:gd name="T26" fmla="*/ 28 w 72"/>
                    <a:gd name="T27" fmla="*/ 81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2" h="108">
                      <a:moveTo>
                        <a:pt x="29" y="0"/>
                      </a:moveTo>
                      <a:cubicBezTo>
                        <a:pt x="32" y="0"/>
                        <a:pt x="34" y="0"/>
                        <a:pt x="37" y="0"/>
                      </a:cubicBezTo>
                      <a:cubicBezTo>
                        <a:pt x="45" y="3"/>
                        <a:pt x="60" y="2"/>
                        <a:pt x="68" y="6"/>
                      </a:cubicBezTo>
                      <a:cubicBezTo>
                        <a:pt x="67" y="23"/>
                        <a:pt x="72" y="43"/>
                        <a:pt x="70" y="58"/>
                      </a:cubicBezTo>
                      <a:cubicBezTo>
                        <a:pt x="68" y="65"/>
                        <a:pt x="63" y="72"/>
                        <a:pt x="60" y="78"/>
                      </a:cubicBezTo>
                      <a:cubicBezTo>
                        <a:pt x="49" y="98"/>
                        <a:pt x="39" y="102"/>
                        <a:pt x="14" y="108"/>
                      </a:cubicBezTo>
                      <a:cubicBezTo>
                        <a:pt x="17" y="101"/>
                        <a:pt x="5" y="107"/>
                        <a:pt x="5" y="102"/>
                      </a:cubicBezTo>
                      <a:cubicBezTo>
                        <a:pt x="0" y="90"/>
                        <a:pt x="6" y="87"/>
                        <a:pt x="13" y="80"/>
                      </a:cubicBezTo>
                      <a:cubicBezTo>
                        <a:pt x="15" y="57"/>
                        <a:pt x="13" y="28"/>
                        <a:pt x="15" y="6"/>
                      </a:cubicBezTo>
                      <a:cubicBezTo>
                        <a:pt x="20" y="3"/>
                        <a:pt x="29" y="6"/>
                        <a:pt x="29" y="0"/>
                      </a:cubicBezTo>
                      <a:close/>
                      <a:moveTo>
                        <a:pt x="28" y="81"/>
                      </a:moveTo>
                      <a:cubicBezTo>
                        <a:pt x="41" y="81"/>
                        <a:pt x="43" y="67"/>
                        <a:pt x="41" y="53"/>
                      </a:cubicBezTo>
                      <a:cubicBezTo>
                        <a:pt x="37" y="54"/>
                        <a:pt x="37" y="51"/>
                        <a:pt x="33" y="51"/>
                      </a:cubicBezTo>
                      <a:cubicBezTo>
                        <a:pt x="30" y="61"/>
                        <a:pt x="32" y="75"/>
                        <a:pt x="28" y="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05" name="Freeform 159">
                  <a:extLst>
                    <a:ext uri="{FF2B5EF4-FFF2-40B4-BE49-F238E27FC236}">
                      <a16:creationId xmlns:a16="http://schemas.microsoft.com/office/drawing/2014/main" id="{970A8307-7815-4B99-8097-F4005C9401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9775" y="5519755"/>
                  <a:ext cx="539752" cy="404813"/>
                </a:xfrm>
                <a:custGeom>
                  <a:avLst/>
                  <a:gdLst>
                    <a:gd name="T0" fmla="*/ 19 w 144"/>
                    <a:gd name="T1" fmla="*/ 0 h 108"/>
                    <a:gd name="T2" fmla="*/ 21 w 144"/>
                    <a:gd name="T3" fmla="*/ 0 h 108"/>
                    <a:gd name="T4" fmla="*/ 55 w 144"/>
                    <a:gd name="T5" fmla="*/ 19 h 108"/>
                    <a:gd name="T6" fmla="*/ 139 w 144"/>
                    <a:gd name="T7" fmla="*/ 47 h 108"/>
                    <a:gd name="T8" fmla="*/ 144 w 144"/>
                    <a:gd name="T9" fmla="*/ 62 h 108"/>
                    <a:gd name="T10" fmla="*/ 144 w 144"/>
                    <a:gd name="T11" fmla="*/ 66 h 108"/>
                    <a:gd name="T12" fmla="*/ 137 w 144"/>
                    <a:gd name="T13" fmla="*/ 88 h 108"/>
                    <a:gd name="T14" fmla="*/ 105 w 144"/>
                    <a:gd name="T15" fmla="*/ 91 h 108"/>
                    <a:gd name="T16" fmla="*/ 100 w 144"/>
                    <a:gd name="T17" fmla="*/ 103 h 108"/>
                    <a:gd name="T18" fmla="*/ 90 w 144"/>
                    <a:gd name="T19" fmla="*/ 108 h 108"/>
                    <a:gd name="T20" fmla="*/ 82 w 144"/>
                    <a:gd name="T21" fmla="*/ 108 h 108"/>
                    <a:gd name="T22" fmla="*/ 31 w 144"/>
                    <a:gd name="T23" fmla="*/ 100 h 108"/>
                    <a:gd name="T24" fmla="*/ 32 w 144"/>
                    <a:gd name="T25" fmla="*/ 73 h 108"/>
                    <a:gd name="T26" fmla="*/ 0 w 144"/>
                    <a:gd name="T27" fmla="*/ 65 h 108"/>
                    <a:gd name="T28" fmla="*/ 0 w 144"/>
                    <a:gd name="T29" fmla="*/ 51 h 108"/>
                    <a:gd name="T30" fmla="*/ 11 w 144"/>
                    <a:gd name="T31" fmla="*/ 12 h 108"/>
                    <a:gd name="T32" fmla="*/ 19 w 144"/>
                    <a:gd name="T33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44" h="108">
                      <a:moveTo>
                        <a:pt x="19" y="0"/>
                      </a:moveTo>
                      <a:cubicBezTo>
                        <a:pt x="19" y="0"/>
                        <a:pt x="20" y="0"/>
                        <a:pt x="21" y="0"/>
                      </a:cubicBezTo>
                      <a:cubicBezTo>
                        <a:pt x="33" y="7"/>
                        <a:pt x="45" y="13"/>
                        <a:pt x="55" y="19"/>
                      </a:cubicBezTo>
                      <a:cubicBezTo>
                        <a:pt x="92" y="2"/>
                        <a:pt x="120" y="31"/>
                        <a:pt x="139" y="47"/>
                      </a:cubicBezTo>
                      <a:cubicBezTo>
                        <a:pt x="141" y="52"/>
                        <a:pt x="141" y="58"/>
                        <a:pt x="144" y="62"/>
                      </a:cubicBezTo>
                      <a:cubicBezTo>
                        <a:pt x="144" y="63"/>
                        <a:pt x="144" y="65"/>
                        <a:pt x="144" y="66"/>
                      </a:cubicBezTo>
                      <a:cubicBezTo>
                        <a:pt x="142" y="75"/>
                        <a:pt x="141" y="83"/>
                        <a:pt x="137" y="88"/>
                      </a:cubicBezTo>
                      <a:cubicBezTo>
                        <a:pt x="124" y="87"/>
                        <a:pt x="117" y="91"/>
                        <a:pt x="105" y="91"/>
                      </a:cubicBezTo>
                      <a:cubicBezTo>
                        <a:pt x="99" y="91"/>
                        <a:pt x="104" y="101"/>
                        <a:pt x="100" y="103"/>
                      </a:cubicBezTo>
                      <a:cubicBezTo>
                        <a:pt x="96" y="105"/>
                        <a:pt x="91" y="106"/>
                        <a:pt x="90" y="108"/>
                      </a:cubicBezTo>
                      <a:cubicBezTo>
                        <a:pt x="87" y="108"/>
                        <a:pt x="84" y="108"/>
                        <a:pt x="82" y="108"/>
                      </a:cubicBezTo>
                      <a:cubicBezTo>
                        <a:pt x="66" y="105"/>
                        <a:pt x="41" y="108"/>
                        <a:pt x="31" y="100"/>
                      </a:cubicBezTo>
                      <a:cubicBezTo>
                        <a:pt x="27" y="90"/>
                        <a:pt x="33" y="85"/>
                        <a:pt x="32" y="73"/>
                      </a:cubicBezTo>
                      <a:cubicBezTo>
                        <a:pt x="23" y="75"/>
                        <a:pt x="8" y="71"/>
                        <a:pt x="0" y="65"/>
                      </a:cubicBezTo>
                      <a:cubicBezTo>
                        <a:pt x="0" y="61"/>
                        <a:pt x="0" y="56"/>
                        <a:pt x="0" y="51"/>
                      </a:cubicBezTo>
                      <a:cubicBezTo>
                        <a:pt x="6" y="39"/>
                        <a:pt x="14" y="27"/>
                        <a:pt x="11" y="12"/>
                      </a:cubicBezTo>
                      <a:cubicBezTo>
                        <a:pt x="11" y="7"/>
                        <a:pt x="18" y="6"/>
                        <a:pt x="19" y="0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06" name="Freeform 160">
                  <a:extLst>
                    <a:ext uri="{FF2B5EF4-FFF2-40B4-BE49-F238E27FC236}">
                      <a16:creationId xmlns:a16="http://schemas.microsoft.com/office/drawing/2014/main" id="{93A7FDE7-150C-47E1-A5E9-2A0060606D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5286" y="3014673"/>
                  <a:ext cx="1109668" cy="2805120"/>
                </a:xfrm>
                <a:custGeom>
                  <a:avLst/>
                  <a:gdLst>
                    <a:gd name="T0" fmla="*/ 0 w 296"/>
                    <a:gd name="T1" fmla="*/ 188 h 748"/>
                    <a:gd name="T2" fmla="*/ 0 w 296"/>
                    <a:gd name="T3" fmla="*/ 183 h 748"/>
                    <a:gd name="T4" fmla="*/ 12 w 296"/>
                    <a:gd name="T5" fmla="*/ 166 h 748"/>
                    <a:gd name="T6" fmla="*/ 103 w 296"/>
                    <a:gd name="T7" fmla="*/ 169 h 748"/>
                    <a:gd name="T8" fmla="*/ 143 w 296"/>
                    <a:gd name="T9" fmla="*/ 9 h 748"/>
                    <a:gd name="T10" fmla="*/ 191 w 296"/>
                    <a:gd name="T11" fmla="*/ 11 h 748"/>
                    <a:gd name="T12" fmla="*/ 225 w 296"/>
                    <a:gd name="T13" fmla="*/ 112 h 748"/>
                    <a:gd name="T14" fmla="*/ 245 w 296"/>
                    <a:gd name="T15" fmla="*/ 133 h 748"/>
                    <a:gd name="T16" fmla="*/ 268 w 296"/>
                    <a:gd name="T17" fmla="*/ 153 h 748"/>
                    <a:gd name="T18" fmla="*/ 296 w 296"/>
                    <a:gd name="T19" fmla="*/ 153 h 748"/>
                    <a:gd name="T20" fmla="*/ 275 w 296"/>
                    <a:gd name="T21" fmla="*/ 276 h 748"/>
                    <a:gd name="T22" fmla="*/ 268 w 296"/>
                    <a:gd name="T23" fmla="*/ 288 h 748"/>
                    <a:gd name="T24" fmla="*/ 264 w 296"/>
                    <a:gd name="T25" fmla="*/ 303 h 748"/>
                    <a:gd name="T26" fmla="*/ 253 w 296"/>
                    <a:gd name="T27" fmla="*/ 328 h 748"/>
                    <a:gd name="T28" fmla="*/ 256 w 296"/>
                    <a:gd name="T29" fmla="*/ 354 h 748"/>
                    <a:gd name="T30" fmla="*/ 252 w 296"/>
                    <a:gd name="T31" fmla="*/ 418 h 748"/>
                    <a:gd name="T32" fmla="*/ 249 w 296"/>
                    <a:gd name="T33" fmla="*/ 514 h 748"/>
                    <a:gd name="T34" fmla="*/ 237 w 296"/>
                    <a:gd name="T35" fmla="*/ 577 h 748"/>
                    <a:gd name="T36" fmla="*/ 223 w 296"/>
                    <a:gd name="T37" fmla="*/ 604 h 748"/>
                    <a:gd name="T38" fmla="*/ 215 w 296"/>
                    <a:gd name="T39" fmla="*/ 633 h 748"/>
                    <a:gd name="T40" fmla="*/ 207 w 296"/>
                    <a:gd name="T41" fmla="*/ 662 h 748"/>
                    <a:gd name="T42" fmla="*/ 222 w 296"/>
                    <a:gd name="T43" fmla="*/ 707 h 748"/>
                    <a:gd name="T44" fmla="*/ 182 w 296"/>
                    <a:gd name="T45" fmla="*/ 689 h 748"/>
                    <a:gd name="T46" fmla="*/ 122 w 296"/>
                    <a:gd name="T47" fmla="*/ 748 h 748"/>
                    <a:gd name="T48" fmla="*/ 114 w 296"/>
                    <a:gd name="T49" fmla="*/ 677 h 748"/>
                    <a:gd name="T50" fmla="*/ 97 w 296"/>
                    <a:gd name="T51" fmla="*/ 672 h 748"/>
                    <a:gd name="T52" fmla="*/ 97 w 296"/>
                    <a:gd name="T53" fmla="*/ 609 h 748"/>
                    <a:gd name="T54" fmla="*/ 86 w 296"/>
                    <a:gd name="T55" fmla="*/ 588 h 748"/>
                    <a:gd name="T56" fmla="*/ 64 w 296"/>
                    <a:gd name="T57" fmla="*/ 525 h 748"/>
                    <a:gd name="T58" fmla="*/ 35 w 296"/>
                    <a:gd name="T59" fmla="*/ 383 h 748"/>
                    <a:gd name="T60" fmla="*/ 19 w 296"/>
                    <a:gd name="T61" fmla="*/ 285 h 748"/>
                    <a:gd name="T62" fmla="*/ 0 w 296"/>
                    <a:gd name="T63" fmla="*/ 188 h 7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96" h="748">
                      <a:moveTo>
                        <a:pt x="0" y="188"/>
                      </a:moveTo>
                      <a:cubicBezTo>
                        <a:pt x="0" y="186"/>
                        <a:pt x="0" y="185"/>
                        <a:pt x="0" y="183"/>
                      </a:cubicBezTo>
                      <a:cubicBezTo>
                        <a:pt x="6" y="178"/>
                        <a:pt x="6" y="168"/>
                        <a:pt x="12" y="166"/>
                      </a:cubicBezTo>
                      <a:cubicBezTo>
                        <a:pt x="37" y="176"/>
                        <a:pt x="73" y="176"/>
                        <a:pt x="103" y="169"/>
                      </a:cubicBezTo>
                      <a:cubicBezTo>
                        <a:pt x="116" y="117"/>
                        <a:pt x="127" y="60"/>
                        <a:pt x="143" y="9"/>
                      </a:cubicBezTo>
                      <a:cubicBezTo>
                        <a:pt x="158" y="0"/>
                        <a:pt x="177" y="2"/>
                        <a:pt x="191" y="11"/>
                      </a:cubicBezTo>
                      <a:cubicBezTo>
                        <a:pt x="204" y="36"/>
                        <a:pt x="210" y="83"/>
                        <a:pt x="225" y="112"/>
                      </a:cubicBezTo>
                      <a:cubicBezTo>
                        <a:pt x="229" y="119"/>
                        <a:pt x="237" y="125"/>
                        <a:pt x="245" y="133"/>
                      </a:cubicBezTo>
                      <a:cubicBezTo>
                        <a:pt x="252" y="140"/>
                        <a:pt x="260" y="152"/>
                        <a:pt x="268" y="153"/>
                      </a:cubicBezTo>
                      <a:cubicBezTo>
                        <a:pt x="277" y="155"/>
                        <a:pt x="286" y="149"/>
                        <a:pt x="296" y="153"/>
                      </a:cubicBezTo>
                      <a:cubicBezTo>
                        <a:pt x="291" y="195"/>
                        <a:pt x="275" y="228"/>
                        <a:pt x="275" y="276"/>
                      </a:cubicBezTo>
                      <a:cubicBezTo>
                        <a:pt x="273" y="281"/>
                        <a:pt x="269" y="281"/>
                        <a:pt x="268" y="288"/>
                      </a:cubicBezTo>
                      <a:cubicBezTo>
                        <a:pt x="265" y="291"/>
                        <a:pt x="265" y="298"/>
                        <a:pt x="264" y="303"/>
                      </a:cubicBezTo>
                      <a:cubicBezTo>
                        <a:pt x="261" y="312"/>
                        <a:pt x="253" y="318"/>
                        <a:pt x="253" y="328"/>
                      </a:cubicBezTo>
                      <a:cubicBezTo>
                        <a:pt x="252" y="336"/>
                        <a:pt x="256" y="345"/>
                        <a:pt x="256" y="354"/>
                      </a:cubicBezTo>
                      <a:cubicBezTo>
                        <a:pt x="258" y="380"/>
                        <a:pt x="258" y="399"/>
                        <a:pt x="252" y="418"/>
                      </a:cubicBezTo>
                      <a:cubicBezTo>
                        <a:pt x="266" y="448"/>
                        <a:pt x="257" y="479"/>
                        <a:pt x="249" y="514"/>
                      </a:cubicBezTo>
                      <a:cubicBezTo>
                        <a:pt x="245" y="536"/>
                        <a:pt x="243" y="559"/>
                        <a:pt x="237" y="577"/>
                      </a:cubicBezTo>
                      <a:cubicBezTo>
                        <a:pt x="233" y="586"/>
                        <a:pt x="227" y="595"/>
                        <a:pt x="223" y="604"/>
                      </a:cubicBezTo>
                      <a:cubicBezTo>
                        <a:pt x="220" y="611"/>
                        <a:pt x="218" y="623"/>
                        <a:pt x="215" y="633"/>
                      </a:cubicBezTo>
                      <a:cubicBezTo>
                        <a:pt x="212" y="644"/>
                        <a:pt x="207" y="656"/>
                        <a:pt x="207" y="662"/>
                      </a:cubicBezTo>
                      <a:cubicBezTo>
                        <a:pt x="208" y="675"/>
                        <a:pt x="224" y="690"/>
                        <a:pt x="222" y="707"/>
                      </a:cubicBezTo>
                      <a:cubicBezTo>
                        <a:pt x="203" y="705"/>
                        <a:pt x="197" y="690"/>
                        <a:pt x="182" y="689"/>
                      </a:cubicBezTo>
                      <a:cubicBezTo>
                        <a:pt x="141" y="688"/>
                        <a:pt x="137" y="726"/>
                        <a:pt x="122" y="748"/>
                      </a:cubicBezTo>
                      <a:cubicBezTo>
                        <a:pt x="120" y="724"/>
                        <a:pt x="115" y="702"/>
                        <a:pt x="114" y="677"/>
                      </a:cubicBezTo>
                      <a:cubicBezTo>
                        <a:pt x="108" y="676"/>
                        <a:pt x="99" y="684"/>
                        <a:pt x="97" y="672"/>
                      </a:cubicBezTo>
                      <a:cubicBezTo>
                        <a:pt x="64" y="661"/>
                        <a:pt x="98" y="627"/>
                        <a:pt x="97" y="609"/>
                      </a:cubicBezTo>
                      <a:cubicBezTo>
                        <a:pt x="97" y="602"/>
                        <a:pt x="90" y="595"/>
                        <a:pt x="86" y="588"/>
                      </a:cubicBezTo>
                      <a:cubicBezTo>
                        <a:pt x="74" y="569"/>
                        <a:pt x="70" y="549"/>
                        <a:pt x="64" y="525"/>
                      </a:cubicBezTo>
                      <a:cubicBezTo>
                        <a:pt x="52" y="479"/>
                        <a:pt x="45" y="432"/>
                        <a:pt x="35" y="383"/>
                      </a:cubicBezTo>
                      <a:cubicBezTo>
                        <a:pt x="28" y="351"/>
                        <a:pt x="22" y="318"/>
                        <a:pt x="19" y="285"/>
                      </a:cubicBezTo>
                      <a:cubicBezTo>
                        <a:pt x="18" y="251"/>
                        <a:pt x="7" y="214"/>
                        <a:pt x="0" y="188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07" name="Freeform 179">
                  <a:extLst>
                    <a:ext uri="{FF2B5EF4-FFF2-40B4-BE49-F238E27FC236}">
                      <a16:creationId xmlns:a16="http://schemas.microsoft.com/office/drawing/2014/main" id="{3073304B-B11C-4D4A-9D84-7B27F065DC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4413" y="3113098"/>
                  <a:ext cx="452441" cy="569916"/>
                </a:xfrm>
                <a:custGeom>
                  <a:avLst/>
                  <a:gdLst>
                    <a:gd name="T0" fmla="*/ 0 w 285"/>
                    <a:gd name="T1" fmla="*/ 0 h 359"/>
                    <a:gd name="T2" fmla="*/ 14 w 285"/>
                    <a:gd name="T3" fmla="*/ 96 h 359"/>
                    <a:gd name="T4" fmla="*/ 108 w 285"/>
                    <a:gd name="T5" fmla="*/ 330 h 359"/>
                    <a:gd name="T6" fmla="*/ 285 w 285"/>
                    <a:gd name="T7" fmla="*/ 359 h 359"/>
                    <a:gd name="T8" fmla="*/ 285 w 285"/>
                    <a:gd name="T9" fmla="*/ 311 h 359"/>
                    <a:gd name="T10" fmla="*/ 0 w 285"/>
                    <a:gd name="T11" fmla="*/ 0 h 3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5" h="359">
                      <a:moveTo>
                        <a:pt x="0" y="0"/>
                      </a:moveTo>
                      <a:lnTo>
                        <a:pt x="14" y="96"/>
                      </a:lnTo>
                      <a:lnTo>
                        <a:pt x="108" y="330"/>
                      </a:lnTo>
                      <a:lnTo>
                        <a:pt x="285" y="359"/>
                      </a:lnTo>
                      <a:lnTo>
                        <a:pt x="285" y="3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08" name="Freeform 180">
                  <a:extLst>
                    <a:ext uri="{FF2B5EF4-FFF2-40B4-BE49-F238E27FC236}">
                      <a16:creationId xmlns:a16="http://schemas.microsoft.com/office/drawing/2014/main" id="{6CBB40DB-E8D2-43C4-AA28-EC7DD584A3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5286" y="3146435"/>
                  <a:ext cx="592139" cy="619126"/>
                </a:xfrm>
                <a:custGeom>
                  <a:avLst/>
                  <a:gdLst>
                    <a:gd name="T0" fmla="*/ 158 w 158"/>
                    <a:gd name="T1" fmla="*/ 0 h 165"/>
                    <a:gd name="T2" fmla="*/ 158 w 158"/>
                    <a:gd name="T3" fmla="*/ 80 h 165"/>
                    <a:gd name="T4" fmla="*/ 113 w 158"/>
                    <a:gd name="T5" fmla="*/ 158 h 165"/>
                    <a:gd name="T6" fmla="*/ 23 w 158"/>
                    <a:gd name="T7" fmla="*/ 156 h 165"/>
                    <a:gd name="T8" fmla="*/ 0 w 158"/>
                    <a:gd name="T9" fmla="*/ 148 h 165"/>
                    <a:gd name="T10" fmla="*/ 87 w 158"/>
                    <a:gd name="T11" fmla="*/ 137 h 165"/>
                    <a:gd name="T12" fmla="*/ 158 w 158"/>
                    <a:gd name="T13" fmla="*/ 0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8" h="165">
                      <a:moveTo>
                        <a:pt x="158" y="0"/>
                      </a:moveTo>
                      <a:cubicBezTo>
                        <a:pt x="158" y="80"/>
                        <a:pt x="158" y="80"/>
                        <a:pt x="158" y="80"/>
                      </a:cubicBezTo>
                      <a:cubicBezTo>
                        <a:pt x="158" y="80"/>
                        <a:pt x="139" y="165"/>
                        <a:pt x="113" y="158"/>
                      </a:cubicBezTo>
                      <a:cubicBezTo>
                        <a:pt x="87" y="152"/>
                        <a:pt x="26" y="157"/>
                        <a:pt x="23" y="156"/>
                      </a:cubicBezTo>
                      <a:cubicBezTo>
                        <a:pt x="20" y="156"/>
                        <a:pt x="0" y="148"/>
                        <a:pt x="0" y="148"/>
                      </a:cubicBezTo>
                      <a:cubicBezTo>
                        <a:pt x="0" y="148"/>
                        <a:pt x="82" y="138"/>
                        <a:pt x="87" y="137"/>
                      </a:cubicBezTo>
                      <a:cubicBezTo>
                        <a:pt x="92" y="136"/>
                        <a:pt x="158" y="0"/>
                        <a:pt x="158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09" name="Freeform 181">
                  <a:extLst>
                    <a:ext uri="{FF2B5EF4-FFF2-40B4-BE49-F238E27FC236}">
                      <a16:creationId xmlns:a16="http://schemas.microsoft.com/office/drawing/2014/main" id="{5E8257E9-8570-4402-AFFD-0C8A3EED95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9813" y="3446473"/>
                  <a:ext cx="63501" cy="423863"/>
                </a:xfrm>
                <a:custGeom>
                  <a:avLst/>
                  <a:gdLst>
                    <a:gd name="T0" fmla="*/ 0 w 40"/>
                    <a:gd name="T1" fmla="*/ 0 h 267"/>
                    <a:gd name="T2" fmla="*/ 0 w 40"/>
                    <a:gd name="T3" fmla="*/ 267 h 267"/>
                    <a:gd name="T4" fmla="*/ 40 w 40"/>
                    <a:gd name="T5" fmla="*/ 260 h 267"/>
                    <a:gd name="T6" fmla="*/ 0 w 40"/>
                    <a:gd name="T7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0" h="267">
                      <a:moveTo>
                        <a:pt x="0" y="0"/>
                      </a:moveTo>
                      <a:lnTo>
                        <a:pt x="0" y="267"/>
                      </a:lnTo>
                      <a:lnTo>
                        <a:pt x="40" y="2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10" name="Freeform 182">
                  <a:extLst>
                    <a:ext uri="{FF2B5EF4-FFF2-40B4-BE49-F238E27FC236}">
                      <a16:creationId xmlns:a16="http://schemas.microsoft.com/office/drawing/2014/main" id="{1B9B0FFE-D522-427A-A2CB-DA5621343B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48036" y="3884623"/>
                  <a:ext cx="217490" cy="1497016"/>
                </a:xfrm>
                <a:custGeom>
                  <a:avLst/>
                  <a:gdLst>
                    <a:gd name="T0" fmla="*/ 58 w 58"/>
                    <a:gd name="T1" fmla="*/ 0 h 399"/>
                    <a:gd name="T2" fmla="*/ 6 w 58"/>
                    <a:gd name="T3" fmla="*/ 369 h 399"/>
                    <a:gd name="T4" fmla="*/ 0 w 58"/>
                    <a:gd name="T5" fmla="*/ 399 h 399"/>
                    <a:gd name="T6" fmla="*/ 34 w 58"/>
                    <a:gd name="T7" fmla="*/ 312 h 399"/>
                    <a:gd name="T8" fmla="*/ 29 w 58"/>
                    <a:gd name="T9" fmla="*/ 255 h 399"/>
                    <a:gd name="T10" fmla="*/ 48 w 58"/>
                    <a:gd name="T11" fmla="*/ 139 h 399"/>
                    <a:gd name="T12" fmla="*/ 58 w 5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399">
                      <a:moveTo>
                        <a:pt x="58" y="0"/>
                      </a:moveTo>
                      <a:cubicBezTo>
                        <a:pt x="6" y="369"/>
                        <a:pt x="6" y="369"/>
                        <a:pt x="6" y="369"/>
                      </a:cubicBezTo>
                      <a:cubicBezTo>
                        <a:pt x="0" y="399"/>
                        <a:pt x="0" y="399"/>
                        <a:pt x="0" y="399"/>
                      </a:cubicBezTo>
                      <a:cubicBezTo>
                        <a:pt x="0" y="399"/>
                        <a:pt x="36" y="342"/>
                        <a:pt x="34" y="312"/>
                      </a:cubicBezTo>
                      <a:cubicBezTo>
                        <a:pt x="32" y="282"/>
                        <a:pt x="28" y="282"/>
                        <a:pt x="29" y="255"/>
                      </a:cubicBezTo>
                      <a:cubicBezTo>
                        <a:pt x="31" y="227"/>
                        <a:pt x="46" y="145"/>
                        <a:pt x="48" y="139"/>
                      </a:cubicBezTo>
                      <a:cubicBezTo>
                        <a:pt x="50" y="132"/>
                        <a:pt x="58" y="0"/>
                        <a:pt x="58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11" name="Freeform 183">
                  <a:extLst>
                    <a:ext uri="{FF2B5EF4-FFF2-40B4-BE49-F238E27FC236}">
                      <a16:creationId xmlns:a16="http://schemas.microsoft.com/office/drawing/2014/main" id="{7AC42C92-FF2A-4C0E-93A6-9461F40257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33802" y="4038612"/>
                  <a:ext cx="231777" cy="385763"/>
                </a:xfrm>
                <a:custGeom>
                  <a:avLst/>
                  <a:gdLst>
                    <a:gd name="T0" fmla="*/ 62 w 62"/>
                    <a:gd name="T1" fmla="*/ 0 h 103"/>
                    <a:gd name="T2" fmla="*/ 35 w 62"/>
                    <a:gd name="T3" fmla="*/ 31 h 103"/>
                    <a:gd name="T4" fmla="*/ 27 w 62"/>
                    <a:gd name="T5" fmla="*/ 66 h 103"/>
                    <a:gd name="T6" fmla="*/ 6 w 62"/>
                    <a:gd name="T7" fmla="*/ 79 h 103"/>
                    <a:gd name="T8" fmla="*/ 23 w 62"/>
                    <a:gd name="T9" fmla="*/ 30 h 103"/>
                    <a:gd name="T10" fmla="*/ 62 w 62"/>
                    <a:gd name="T1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2" h="103">
                      <a:moveTo>
                        <a:pt x="62" y="0"/>
                      </a:moveTo>
                      <a:cubicBezTo>
                        <a:pt x="62" y="0"/>
                        <a:pt x="37" y="20"/>
                        <a:pt x="35" y="31"/>
                      </a:cubicBezTo>
                      <a:cubicBezTo>
                        <a:pt x="33" y="42"/>
                        <a:pt x="25" y="75"/>
                        <a:pt x="27" y="66"/>
                      </a:cubicBezTo>
                      <a:cubicBezTo>
                        <a:pt x="28" y="58"/>
                        <a:pt x="0" y="103"/>
                        <a:pt x="6" y="79"/>
                      </a:cubicBezTo>
                      <a:cubicBezTo>
                        <a:pt x="12" y="55"/>
                        <a:pt x="14" y="48"/>
                        <a:pt x="23" y="30"/>
                      </a:cubicBezTo>
                      <a:cubicBezTo>
                        <a:pt x="33" y="12"/>
                        <a:pt x="62" y="0"/>
                        <a:pt x="62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12" name="Freeform 184">
                  <a:extLst>
                    <a:ext uri="{FF2B5EF4-FFF2-40B4-BE49-F238E27FC236}">
                      <a16:creationId xmlns:a16="http://schemas.microsoft.com/office/drawing/2014/main" id="{91D56A95-F61F-402A-8F26-8B45A400FD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5862" y="4581537"/>
                  <a:ext cx="153989" cy="434977"/>
                </a:xfrm>
                <a:custGeom>
                  <a:avLst/>
                  <a:gdLst>
                    <a:gd name="T0" fmla="*/ 41 w 41"/>
                    <a:gd name="T1" fmla="*/ 0 h 116"/>
                    <a:gd name="T2" fmla="*/ 25 w 41"/>
                    <a:gd name="T3" fmla="*/ 47 h 116"/>
                    <a:gd name="T4" fmla="*/ 7 w 41"/>
                    <a:gd name="T5" fmla="*/ 85 h 116"/>
                    <a:gd name="T6" fmla="*/ 36 w 41"/>
                    <a:gd name="T7" fmla="*/ 0 h 116"/>
                    <a:gd name="T8" fmla="*/ 41 w 41"/>
                    <a:gd name="T9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116">
                      <a:moveTo>
                        <a:pt x="41" y="0"/>
                      </a:moveTo>
                      <a:cubicBezTo>
                        <a:pt x="38" y="8"/>
                        <a:pt x="33" y="18"/>
                        <a:pt x="25" y="47"/>
                      </a:cubicBezTo>
                      <a:cubicBezTo>
                        <a:pt x="17" y="75"/>
                        <a:pt x="0" y="116"/>
                        <a:pt x="7" y="85"/>
                      </a:cubicBezTo>
                      <a:cubicBezTo>
                        <a:pt x="15" y="53"/>
                        <a:pt x="31" y="0"/>
                        <a:pt x="36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13" name="Freeform 185">
                  <a:extLst>
                    <a:ext uri="{FF2B5EF4-FFF2-40B4-BE49-F238E27FC236}">
                      <a16:creationId xmlns:a16="http://schemas.microsoft.com/office/drawing/2014/main" id="{962535D2-7A9F-4CEC-8833-9E653980AC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55988" y="5470541"/>
                  <a:ext cx="274638" cy="165099"/>
                </a:xfrm>
                <a:custGeom>
                  <a:avLst/>
                  <a:gdLst>
                    <a:gd name="T0" fmla="*/ 0 w 73"/>
                    <a:gd name="T1" fmla="*/ 41 h 44"/>
                    <a:gd name="T2" fmla="*/ 37 w 73"/>
                    <a:gd name="T3" fmla="*/ 29 h 44"/>
                    <a:gd name="T4" fmla="*/ 68 w 73"/>
                    <a:gd name="T5" fmla="*/ 29 h 44"/>
                    <a:gd name="T6" fmla="*/ 50 w 73"/>
                    <a:gd name="T7" fmla="*/ 0 h 44"/>
                    <a:gd name="T8" fmla="*/ 0 w 73"/>
                    <a:gd name="T9" fmla="*/ 41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4">
                      <a:moveTo>
                        <a:pt x="0" y="41"/>
                      </a:moveTo>
                      <a:cubicBezTo>
                        <a:pt x="0" y="41"/>
                        <a:pt x="8" y="27"/>
                        <a:pt x="37" y="29"/>
                      </a:cubicBezTo>
                      <a:cubicBezTo>
                        <a:pt x="65" y="31"/>
                        <a:pt x="66" y="44"/>
                        <a:pt x="68" y="29"/>
                      </a:cubicBezTo>
                      <a:cubicBezTo>
                        <a:pt x="70" y="14"/>
                        <a:pt x="73" y="0"/>
                        <a:pt x="50" y="0"/>
                      </a:cubicBezTo>
                      <a:cubicBezTo>
                        <a:pt x="27" y="0"/>
                        <a:pt x="0" y="41"/>
                        <a:pt x="0" y="41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14" name="Freeform 186">
                  <a:extLst>
                    <a:ext uri="{FF2B5EF4-FFF2-40B4-BE49-F238E27FC236}">
                      <a16:creationId xmlns:a16="http://schemas.microsoft.com/office/drawing/2014/main" id="{71375FB5-04CE-4D13-8844-775A2F3D43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9451" y="5111766"/>
                  <a:ext cx="139699" cy="265114"/>
                </a:xfrm>
                <a:custGeom>
                  <a:avLst/>
                  <a:gdLst>
                    <a:gd name="T0" fmla="*/ 16 w 37"/>
                    <a:gd name="T1" fmla="*/ 2 h 71"/>
                    <a:gd name="T2" fmla="*/ 31 w 37"/>
                    <a:gd name="T3" fmla="*/ 31 h 71"/>
                    <a:gd name="T4" fmla="*/ 24 w 37"/>
                    <a:gd name="T5" fmla="*/ 42 h 71"/>
                    <a:gd name="T6" fmla="*/ 3 w 37"/>
                    <a:gd name="T7" fmla="*/ 7 h 71"/>
                    <a:gd name="T8" fmla="*/ 16 w 37"/>
                    <a:gd name="T9" fmla="*/ 2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71">
                      <a:moveTo>
                        <a:pt x="16" y="2"/>
                      </a:moveTo>
                      <a:cubicBezTo>
                        <a:pt x="24" y="6"/>
                        <a:pt x="32" y="19"/>
                        <a:pt x="31" y="31"/>
                      </a:cubicBezTo>
                      <a:cubicBezTo>
                        <a:pt x="30" y="43"/>
                        <a:pt x="37" y="71"/>
                        <a:pt x="24" y="42"/>
                      </a:cubicBezTo>
                      <a:cubicBezTo>
                        <a:pt x="11" y="14"/>
                        <a:pt x="0" y="14"/>
                        <a:pt x="3" y="7"/>
                      </a:cubicBezTo>
                      <a:cubicBezTo>
                        <a:pt x="6" y="0"/>
                        <a:pt x="16" y="2"/>
                        <a:pt x="16" y="2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15" name="Freeform 187">
                  <a:extLst>
                    <a:ext uri="{FF2B5EF4-FFF2-40B4-BE49-F238E27FC236}">
                      <a16:creationId xmlns:a16="http://schemas.microsoft.com/office/drawing/2014/main" id="{C7EB574F-EE69-4A76-AC42-B3AA1C1F93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7834" y="4159261"/>
                  <a:ext cx="322265" cy="741365"/>
                </a:xfrm>
                <a:custGeom>
                  <a:avLst/>
                  <a:gdLst>
                    <a:gd name="T0" fmla="*/ 0 w 86"/>
                    <a:gd name="T1" fmla="*/ 0 h 198"/>
                    <a:gd name="T2" fmla="*/ 38 w 86"/>
                    <a:gd name="T3" fmla="*/ 16 h 198"/>
                    <a:gd name="T4" fmla="*/ 51 w 86"/>
                    <a:gd name="T5" fmla="*/ 54 h 198"/>
                    <a:gd name="T6" fmla="*/ 36 w 86"/>
                    <a:gd name="T7" fmla="*/ 54 h 198"/>
                    <a:gd name="T8" fmla="*/ 70 w 86"/>
                    <a:gd name="T9" fmla="*/ 161 h 198"/>
                    <a:gd name="T10" fmla="*/ 37 w 86"/>
                    <a:gd name="T11" fmla="*/ 132 h 198"/>
                    <a:gd name="T12" fmla="*/ 36 w 86"/>
                    <a:gd name="T13" fmla="*/ 198 h 198"/>
                    <a:gd name="T14" fmla="*/ 16 w 86"/>
                    <a:gd name="T15" fmla="*/ 96 h 198"/>
                    <a:gd name="T16" fmla="*/ 0 w 86"/>
                    <a:gd name="T17" fmla="*/ 28 h 198"/>
                    <a:gd name="T18" fmla="*/ 0 w 86"/>
                    <a:gd name="T19" fmla="*/ 0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6" h="198">
                      <a:moveTo>
                        <a:pt x="0" y="0"/>
                      </a:moveTo>
                      <a:cubicBezTo>
                        <a:pt x="0" y="0"/>
                        <a:pt x="32" y="2"/>
                        <a:pt x="38" y="16"/>
                      </a:cubicBezTo>
                      <a:cubicBezTo>
                        <a:pt x="44" y="31"/>
                        <a:pt x="66" y="67"/>
                        <a:pt x="51" y="54"/>
                      </a:cubicBezTo>
                      <a:cubicBezTo>
                        <a:pt x="36" y="41"/>
                        <a:pt x="17" y="24"/>
                        <a:pt x="36" y="54"/>
                      </a:cubicBezTo>
                      <a:cubicBezTo>
                        <a:pt x="54" y="84"/>
                        <a:pt x="86" y="181"/>
                        <a:pt x="70" y="161"/>
                      </a:cubicBezTo>
                      <a:cubicBezTo>
                        <a:pt x="55" y="141"/>
                        <a:pt x="39" y="108"/>
                        <a:pt x="37" y="132"/>
                      </a:cubicBezTo>
                      <a:cubicBezTo>
                        <a:pt x="36" y="156"/>
                        <a:pt x="36" y="198"/>
                        <a:pt x="36" y="198"/>
                      </a:cubicBezTo>
                      <a:cubicBezTo>
                        <a:pt x="16" y="96"/>
                        <a:pt x="16" y="96"/>
                        <a:pt x="16" y="96"/>
                      </a:cubicBezTo>
                      <a:cubicBezTo>
                        <a:pt x="0" y="28"/>
                        <a:pt x="0" y="28"/>
                        <a:pt x="0" y="2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16" name="Freeform 157">
                  <a:extLst>
                    <a:ext uri="{FF2B5EF4-FFF2-40B4-BE49-F238E27FC236}">
                      <a16:creationId xmlns:a16="http://schemas.microsoft.com/office/drawing/2014/main" id="{B234905B-B95F-4C2A-9363-88F9F3B9E9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5160" y="960441"/>
                  <a:ext cx="584203" cy="1049339"/>
                </a:xfrm>
                <a:custGeom>
                  <a:avLst/>
                  <a:gdLst>
                    <a:gd name="T0" fmla="*/ 0 w 156"/>
                    <a:gd name="T1" fmla="*/ 112 h 280"/>
                    <a:gd name="T2" fmla="*/ 0 w 156"/>
                    <a:gd name="T3" fmla="*/ 104 h 280"/>
                    <a:gd name="T4" fmla="*/ 11 w 156"/>
                    <a:gd name="T5" fmla="*/ 96 h 280"/>
                    <a:gd name="T6" fmla="*/ 4 w 156"/>
                    <a:gd name="T7" fmla="*/ 46 h 280"/>
                    <a:gd name="T8" fmla="*/ 28 w 156"/>
                    <a:gd name="T9" fmla="*/ 22 h 280"/>
                    <a:gd name="T10" fmla="*/ 59 w 156"/>
                    <a:gd name="T11" fmla="*/ 4 h 280"/>
                    <a:gd name="T12" fmla="*/ 108 w 156"/>
                    <a:gd name="T13" fmla="*/ 6 h 280"/>
                    <a:gd name="T14" fmla="*/ 138 w 156"/>
                    <a:gd name="T15" fmla="*/ 93 h 280"/>
                    <a:gd name="T16" fmla="*/ 143 w 156"/>
                    <a:gd name="T17" fmla="*/ 99 h 280"/>
                    <a:gd name="T18" fmla="*/ 131 w 156"/>
                    <a:gd name="T19" fmla="*/ 140 h 280"/>
                    <a:gd name="T20" fmla="*/ 122 w 156"/>
                    <a:gd name="T21" fmla="*/ 147 h 280"/>
                    <a:gd name="T22" fmla="*/ 114 w 156"/>
                    <a:gd name="T23" fmla="*/ 215 h 280"/>
                    <a:gd name="T24" fmla="*/ 80 w 156"/>
                    <a:gd name="T25" fmla="*/ 280 h 280"/>
                    <a:gd name="T26" fmla="*/ 56 w 156"/>
                    <a:gd name="T27" fmla="*/ 267 h 280"/>
                    <a:gd name="T28" fmla="*/ 44 w 156"/>
                    <a:gd name="T29" fmla="*/ 241 h 280"/>
                    <a:gd name="T30" fmla="*/ 24 w 156"/>
                    <a:gd name="T31" fmla="*/ 188 h 280"/>
                    <a:gd name="T32" fmla="*/ 24 w 156"/>
                    <a:gd name="T33" fmla="*/ 150 h 280"/>
                    <a:gd name="T34" fmla="*/ 12 w 156"/>
                    <a:gd name="T35" fmla="*/ 137 h 280"/>
                    <a:gd name="T36" fmla="*/ 0 w 156"/>
                    <a:gd name="T37" fmla="*/ 112 h 2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6" h="280">
                      <a:moveTo>
                        <a:pt x="0" y="112"/>
                      </a:moveTo>
                      <a:cubicBezTo>
                        <a:pt x="0" y="109"/>
                        <a:pt x="0" y="107"/>
                        <a:pt x="0" y="104"/>
                      </a:cubicBezTo>
                      <a:cubicBezTo>
                        <a:pt x="3" y="101"/>
                        <a:pt x="3" y="94"/>
                        <a:pt x="11" y="96"/>
                      </a:cubicBezTo>
                      <a:cubicBezTo>
                        <a:pt x="6" y="80"/>
                        <a:pt x="6" y="64"/>
                        <a:pt x="4" y="46"/>
                      </a:cubicBezTo>
                      <a:cubicBezTo>
                        <a:pt x="8" y="36"/>
                        <a:pt x="19" y="30"/>
                        <a:pt x="28" y="22"/>
                      </a:cubicBezTo>
                      <a:cubicBezTo>
                        <a:pt x="38" y="16"/>
                        <a:pt x="47" y="7"/>
                        <a:pt x="59" y="4"/>
                      </a:cubicBezTo>
                      <a:cubicBezTo>
                        <a:pt x="72" y="0"/>
                        <a:pt x="89" y="6"/>
                        <a:pt x="108" y="6"/>
                      </a:cubicBezTo>
                      <a:cubicBezTo>
                        <a:pt x="134" y="19"/>
                        <a:pt x="156" y="55"/>
                        <a:pt x="138" y="93"/>
                      </a:cubicBezTo>
                      <a:cubicBezTo>
                        <a:pt x="137" y="97"/>
                        <a:pt x="145" y="96"/>
                        <a:pt x="143" y="99"/>
                      </a:cubicBezTo>
                      <a:cubicBezTo>
                        <a:pt x="149" y="115"/>
                        <a:pt x="135" y="128"/>
                        <a:pt x="131" y="140"/>
                      </a:cubicBezTo>
                      <a:cubicBezTo>
                        <a:pt x="130" y="142"/>
                        <a:pt x="126" y="146"/>
                        <a:pt x="122" y="147"/>
                      </a:cubicBezTo>
                      <a:cubicBezTo>
                        <a:pt x="122" y="170"/>
                        <a:pt x="121" y="196"/>
                        <a:pt x="114" y="215"/>
                      </a:cubicBezTo>
                      <a:cubicBezTo>
                        <a:pt x="108" y="240"/>
                        <a:pt x="102" y="273"/>
                        <a:pt x="80" y="280"/>
                      </a:cubicBezTo>
                      <a:cubicBezTo>
                        <a:pt x="72" y="274"/>
                        <a:pt x="61" y="274"/>
                        <a:pt x="56" y="267"/>
                      </a:cubicBezTo>
                      <a:cubicBezTo>
                        <a:pt x="51" y="260"/>
                        <a:pt x="48" y="249"/>
                        <a:pt x="44" y="241"/>
                      </a:cubicBezTo>
                      <a:cubicBezTo>
                        <a:pt x="38" y="226"/>
                        <a:pt x="27" y="204"/>
                        <a:pt x="24" y="188"/>
                      </a:cubicBezTo>
                      <a:cubicBezTo>
                        <a:pt x="22" y="175"/>
                        <a:pt x="27" y="161"/>
                        <a:pt x="24" y="150"/>
                      </a:cubicBezTo>
                      <a:cubicBezTo>
                        <a:pt x="22" y="140"/>
                        <a:pt x="18" y="144"/>
                        <a:pt x="12" y="137"/>
                      </a:cubicBezTo>
                      <a:cubicBezTo>
                        <a:pt x="7" y="130"/>
                        <a:pt x="4" y="118"/>
                        <a:pt x="0" y="112"/>
                      </a:cubicBezTo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17" name="Freeform 158">
                  <a:extLst>
                    <a:ext uri="{FF2B5EF4-FFF2-40B4-BE49-F238E27FC236}">
                      <a16:creationId xmlns:a16="http://schemas.microsoft.com/office/drawing/2014/main" id="{5FC98669-9506-4983-9DD7-315C28BC77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49535" y="3479810"/>
                  <a:ext cx="255587" cy="434977"/>
                </a:xfrm>
                <a:custGeom>
                  <a:avLst/>
                  <a:gdLst>
                    <a:gd name="T0" fmla="*/ 63 w 68"/>
                    <a:gd name="T1" fmla="*/ 116 h 116"/>
                    <a:gd name="T2" fmla="*/ 60 w 68"/>
                    <a:gd name="T3" fmla="*/ 116 h 116"/>
                    <a:gd name="T4" fmla="*/ 16 w 68"/>
                    <a:gd name="T5" fmla="*/ 98 h 116"/>
                    <a:gd name="T6" fmla="*/ 0 w 68"/>
                    <a:gd name="T7" fmla="*/ 23 h 116"/>
                    <a:gd name="T8" fmla="*/ 55 w 68"/>
                    <a:gd name="T9" fmla="*/ 16 h 116"/>
                    <a:gd name="T10" fmla="*/ 68 w 68"/>
                    <a:gd name="T11" fmla="*/ 91 h 116"/>
                    <a:gd name="T12" fmla="*/ 62 w 68"/>
                    <a:gd name="T13" fmla="*/ 103 h 116"/>
                    <a:gd name="T14" fmla="*/ 63 w 68"/>
                    <a:gd name="T15" fmla="*/ 116 h 116"/>
                    <a:gd name="T16" fmla="*/ 38 w 68"/>
                    <a:gd name="T17" fmla="*/ 65 h 116"/>
                    <a:gd name="T18" fmla="*/ 54 w 68"/>
                    <a:gd name="T19" fmla="*/ 91 h 116"/>
                    <a:gd name="T20" fmla="*/ 44 w 68"/>
                    <a:gd name="T21" fmla="*/ 60 h 116"/>
                    <a:gd name="T22" fmla="*/ 38 w 68"/>
                    <a:gd name="T23" fmla="*/ 65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8" h="116">
                      <a:moveTo>
                        <a:pt x="63" y="116"/>
                      </a:moveTo>
                      <a:cubicBezTo>
                        <a:pt x="62" y="116"/>
                        <a:pt x="60" y="116"/>
                        <a:pt x="60" y="116"/>
                      </a:cubicBezTo>
                      <a:cubicBezTo>
                        <a:pt x="46" y="108"/>
                        <a:pt x="26" y="108"/>
                        <a:pt x="16" y="98"/>
                      </a:cubicBezTo>
                      <a:cubicBezTo>
                        <a:pt x="0" y="81"/>
                        <a:pt x="0" y="56"/>
                        <a:pt x="0" y="23"/>
                      </a:cubicBezTo>
                      <a:cubicBezTo>
                        <a:pt x="12" y="8"/>
                        <a:pt x="40" y="0"/>
                        <a:pt x="55" y="16"/>
                      </a:cubicBezTo>
                      <a:cubicBezTo>
                        <a:pt x="60" y="40"/>
                        <a:pt x="62" y="69"/>
                        <a:pt x="68" y="91"/>
                      </a:cubicBezTo>
                      <a:cubicBezTo>
                        <a:pt x="68" y="98"/>
                        <a:pt x="59" y="95"/>
                        <a:pt x="62" y="103"/>
                      </a:cubicBezTo>
                      <a:cubicBezTo>
                        <a:pt x="66" y="106"/>
                        <a:pt x="67" y="110"/>
                        <a:pt x="63" y="116"/>
                      </a:cubicBezTo>
                      <a:close/>
                      <a:moveTo>
                        <a:pt x="38" y="65"/>
                      </a:moveTo>
                      <a:cubicBezTo>
                        <a:pt x="40" y="75"/>
                        <a:pt x="38" y="93"/>
                        <a:pt x="54" y="91"/>
                      </a:cubicBezTo>
                      <a:cubicBezTo>
                        <a:pt x="47" y="85"/>
                        <a:pt x="50" y="69"/>
                        <a:pt x="44" y="60"/>
                      </a:cubicBezTo>
                      <a:cubicBezTo>
                        <a:pt x="43" y="64"/>
                        <a:pt x="38" y="61"/>
                        <a:pt x="38" y="6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18" name="Freeform 161">
                  <a:extLst>
                    <a:ext uri="{FF2B5EF4-FFF2-40B4-BE49-F238E27FC236}">
                      <a16:creationId xmlns:a16="http://schemas.microsoft.com/office/drawing/2014/main" id="{AE2CAFE0-4CAC-489B-B6BD-DF44001A4C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9451" y="1695456"/>
                  <a:ext cx="525465" cy="1109667"/>
                </a:xfrm>
                <a:custGeom>
                  <a:avLst/>
                  <a:gdLst>
                    <a:gd name="T0" fmla="*/ 139 w 140"/>
                    <a:gd name="T1" fmla="*/ 64 h 296"/>
                    <a:gd name="T2" fmla="*/ 139 w 140"/>
                    <a:gd name="T3" fmla="*/ 71 h 296"/>
                    <a:gd name="T4" fmla="*/ 138 w 140"/>
                    <a:gd name="T5" fmla="*/ 71 h 296"/>
                    <a:gd name="T6" fmla="*/ 93 w 140"/>
                    <a:gd name="T7" fmla="*/ 296 h 296"/>
                    <a:gd name="T8" fmla="*/ 84 w 140"/>
                    <a:gd name="T9" fmla="*/ 296 h 296"/>
                    <a:gd name="T10" fmla="*/ 75 w 140"/>
                    <a:gd name="T11" fmla="*/ 294 h 296"/>
                    <a:gd name="T12" fmla="*/ 63 w 140"/>
                    <a:gd name="T13" fmla="*/ 261 h 296"/>
                    <a:gd name="T14" fmla="*/ 33 w 140"/>
                    <a:gd name="T15" fmla="*/ 170 h 296"/>
                    <a:gd name="T16" fmla="*/ 0 w 140"/>
                    <a:gd name="T17" fmla="*/ 34 h 296"/>
                    <a:gd name="T18" fmla="*/ 0 w 140"/>
                    <a:gd name="T19" fmla="*/ 27 h 296"/>
                    <a:gd name="T20" fmla="*/ 16 w 140"/>
                    <a:gd name="T21" fmla="*/ 0 h 296"/>
                    <a:gd name="T22" fmla="*/ 67 w 140"/>
                    <a:gd name="T23" fmla="*/ 34 h 296"/>
                    <a:gd name="T24" fmla="*/ 70 w 140"/>
                    <a:gd name="T25" fmla="*/ 68 h 296"/>
                    <a:gd name="T26" fmla="*/ 81 w 140"/>
                    <a:gd name="T27" fmla="*/ 61 h 296"/>
                    <a:gd name="T28" fmla="*/ 76 w 140"/>
                    <a:gd name="T29" fmla="*/ 43 h 296"/>
                    <a:gd name="T30" fmla="*/ 110 w 140"/>
                    <a:gd name="T31" fmla="*/ 11 h 296"/>
                    <a:gd name="T32" fmla="*/ 121 w 140"/>
                    <a:gd name="T33" fmla="*/ 3 h 296"/>
                    <a:gd name="T34" fmla="*/ 139 w 140"/>
                    <a:gd name="T35" fmla="*/ 64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40" h="296">
                      <a:moveTo>
                        <a:pt x="139" y="64"/>
                      </a:moveTo>
                      <a:cubicBezTo>
                        <a:pt x="139" y="67"/>
                        <a:pt x="139" y="68"/>
                        <a:pt x="139" y="71"/>
                      </a:cubicBezTo>
                      <a:cubicBezTo>
                        <a:pt x="138" y="71"/>
                        <a:pt x="138" y="71"/>
                        <a:pt x="138" y="71"/>
                      </a:cubicBezTo>
                      <a:cubicBezTo>
                        <a:pt x="125" y="148"/>
                        <a:pt x="108" y="221"/>
                        <a:pt x="93" y="296"/>
                      </a:cubicBezTo>
                      <a:cubicBezTo>
                        <a:pt x="90" y="296"/>
                        <a:pt x="87" y="296"/>
                        <a:pt x="84" y="296"/>
                      </a:cubicBezTo>
                      <a:cubicBezTo>
                        <a:pt x="85" y="294"/>
                        <a:pt x="78" y="296"/>
                        <a:pt x="75" y="294"/>
                      </a:cubicBezTo>
                      <a:cubicBezTo>
                        <a:pt x="72" y="291"/>
                        <a:pt x="67" y="273"/>
                        <a:pt x="63" y="261"/>
                      </a:cubicBezTo>
                      <a:cubicBezTo>
                        <a:pt x="53" y="231"/>
                        <a:pt x="42" y="201"/>
                        <a:pt x="33" y="170"/>
                      </a:cubicBezTo>
                      <a:cubicBezTo>
                        <a:pt x="18" y="118"/>
                        <a:pt x="8" y="74"/>
                        <a:pt x="0" y="34"/>
                      </a:cubicBezTo>
                      <a:cubicBezTo>
                        <a:pt x="0" y="32"/>
                        <a:pt x="0" y="29"/>
                        <a:pt x="0" y="27"/>
                      </a:cubicBezTo>
                      <a:cubicBezTo>
                        <a:pt x="3" y="16"/>
                        <a:pt x="3" y="0"/>
                        <a:pt x="16" y="0"/>
                      </a:cubicBezTo>
                      <a:cubicBezTo>
                        <a:pt x="31" y="13"/>
                        <a:pt x="49" y="23"/>
                        <a:pt x="67" y="34"/>
                      </a:cubicBezTo>
                      <a:cubicBezTo>
                        <a:pt x="74" y="43"/>
                        <a:pt x="71" y="56"/>
                        <a:pt x="70" y="68"/>
                      </a:cubicBezTo>
                      <a:cubicBezTo>
                        <a:pt x="75" y="68"/>
                        <a:pt x="80" y="64"/>
                        <a:pt x="81" y="61"/>
                      </a:cubicBezTo>
                      <a:cubicBezTo>
                        <a:pt x="80" y="62"/>
                        <a:pt x="72" y="49"/>
                        <a:pt x="76" y="43"/>
                      </a:cubicBezTo>
                      <a:cubicBezTo>
                        <a:pt x="87" y="33"/>
                        <a:pt x="98" y="22"/>
                        <a:pt x="110" y="11"/>
                      </a:cubicBezTo>
                      <a:cubicBezTo>
                        <a:pt x="114" y="8"/>
                        <a:pt x="116" y="0"/>
                        <a:pt x="121" y="3"/>
                      </a:cubicBezTo>
                      <a:cubicBezTo>
                        <a:pt x="140" y="11"/>
                        <a:pt x="134" y="43"/>
                        <a:pt x="139" y="64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19" name="Freeform 162">
                  <a:extLst>
                    <a:ext uri="{FF2B5EF4-FFF2-40B4-BE49-F238E27FC236}">
                      <a16:creationId xmlns:a16="http://schemas.microsoft.com/office/drawing/2014/main" id="{A94CE5DC-61FB-487B-B1A6-C1F6DC6DB9E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19371" y="1709743"/>
                  <a:ext cx="1695457" cy="2039945"/>
                </a:xfrm>
                <a:custGeom>
                  <a:avLst/>
                  <a:gdLst>
                    <a:gd name="T0" fmla="*/ 289 w 452"/>
                    <a:gd name="T1" fmla="*/ 0 h 544"/>
                    <a:gd name="T2" fmla="*/ 293 w 452"/>
                    <a:gd name="T3" fmla="*/ 0 h 544"/>
                    <a:gd name="T4" fmla="*/ 403 w 452"/>
                    <a:gd name="T5" fmla="*/ 35 h 544"/>
                    <a:gd name="T6" fmla="*/ 413 w 452"/>
                    <a:gd name="T7" fmla="*/ 78 h 544"/>
                    <a:gd name="T8" fmla="*/ 414 w 452"/>
                    <a:gd name="T9" fmla="*/ 130 h 544"/>
                    <a:gd name="T10" fmla="*/ 421 w 452"/>
                    <a:gd name="T11" fmla="*/ 163 h 544"/>
                    <a:gd name="T12" fmla="*/ 424 w 452"/>
                    <a:gd name="T13" fmla="*/ 225 h 544"/>
                    <a:gd name="T14" fmla="*/ 446 w 452"/>
                    <a:gd name="T15" fmla="*/ 341 h 544"/>
                    <a:gd name="T16" fmla="*/ 452 w 452"/>
                    <a:gd name="T17" fmla="*/ 475 h 544"/>
                    <a:gd name="T18" fmla="*/ 439 w 452"/>
                    <a:gd name="T19" fmla="*/ 471 h 544"/>
                    <a:gd name="T20" fmla="*/ 395 w 452"/>
                    <a:gd name="T21" fmla="*/ 476 h 544"/>
                    <a:gd name="T22" fmla="*/ 395 w 452"/>
                    <a:gd name="T23" fmla="*/ 513 h 544"/>
                    <a:gd name="T24" fmla="*/ 340 w 452"/>
                    <a:gd name="T25" fmla="*/ 517 h 544"/>
                    <a:gd name="T26" fmla="*/ 289 w 452"/>
                    <a:gd name="T27" fmla="*/ 470 h 544"/>
                    <a:gd name="T28" fmla="*/ 248 w 452"/>
                    <a:gd name="T29" fmla="*/ 372 h 544"/>
                    <a:gd name="T30" fmla="*/ 206 w 452"/>
                    <a:gd name="T31" fmla="*/ 527 h 544"/>
                    <a:gd name="T32" fmla="*/ 70 w 452"/>
                    <a:gd name="T33" fmla="*/ 523 h 544"/>
                    <a:gd name="T34" fmla="*/ 70 w 452"/>
                    <a:gd name="T35" fmla="*/ 499 h 544"/>
                    <a:gd name="T36" fmla="*/ 56 w 452"/>
                    <a:gd name="T37" fmla="*/ 486 h 544"/>
                    <a:gd name="T38" fmla="*/ 4 w 452"/>
                    <a:gd name="T39" fmla="*/ 499 h 544"/>
                    <a:gd name="T40" fmla="*/ 4 w 452"/>
                    <a:gd name="T41" fmla="*/ 364 h 544"/>
                    <a:gd name="T42" fmla="*/ 12 w 452"/>
                    <a:gd name="T43" fmla="*/ 322 h 544"/>
                    <a:gd name="T44" fmla="*/ 16 w 452"/>
                    <a:gd name="T45" fmla="*/ 264 h 544"/>
                    <a:gd name="T46" fmla="*/ 33 w 452"/>
                    <a:gd name="T47" fmla="*/ 124 h 544"/>
                    <a:gd name="T48" fmla="*/ 49 w 452"/>
                    <a:gd name="T49" fmla="*/ 44 h 544"/>
                    <a:gd name="T50" fmla="*/ 107 w 452"/>
                    <a:gd name="T51" fmla="*/ 25 h 544"/>
                    <a:gd name="T52" fmla="*/ 163 w 452"/>
                    <a:gd name="T53" fmla="*/ 4 h 544"/>
                    <a:gd name="T54" fmla="*/ 196 w 452"/>
                    <a:gd name="T55" fmla="*/ 153 h 544"/>
                    <a:gd name="T56" fmla="*/ 228 w 452"/>
                    <a:gd name="T57" fmla="*/ 255 h 544"/>
                    <a:gd name="T58" fmla="*/ 244 w 452"/>
                    <a:gd name="T59" fmla="*/ 285 h 544"/>
                    <a:gd name="T60" fmla="*/ 251 w 452"/>
                    <a:gd name="T61" fmla="*/ 265 h 544"/>
                    <a:gd name="T62" fmla="*/ 256 w 452"/>
                    <a:gd name="T63" fmla="*/ 242 h 544"/>
                    <a:gd name="T64" fmla="*/ 285 w 452"/>
                    <a:gd name="T65" fmla="*/ 109 h 544"/>
                    <a:gd name="T66" fmla="*/ 289 w 452"/>
                    <a:gd name="T67" fmla="*/ 0 h 544"/>
                    <a:gd name="T68" fmla="*/ 80 w 452"/>
                    <a:gd name="T69" fmla="*/ 314 h 544"/>
                    <a:gd name="T70" fmla="*/ 80 w 452"/>
                    <a:gd name="T71" fmla="*/ 344 h 544"/>
                    <a:gd name="T72" fmla="*/ 80 w 452"/>
                    <a:gd name="T73" fmla="*/ 383 h 544"/>
                    <a:gd name="T74" fmla="*/ 92 w 452"/>
                    <a:gd name="T75" fmla="*/ 332 h 544"/>
                    <a:gd name="T76" fmla="*/ 92 w 452"/>
                    <a:gd name="T77" fmla="*/ 265 h 544"/>
                    <a:gd name="T78" fmla="*/ 80 w 452"/>
                    <a:gd name="T79" fmla="*/ 314 h 5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452" h="544">
                      <a:moveTo>
                        <a:pt x="289" y="0"/>
                      </a:moveTo>
                      <a:cubicBezTo>
                        <a:pt x="290" y="0"/>
                        <a:pt x="291" y="0"/>
                        <a:pt x="293" y="0"/>
                      </a:cubicBezTo>
                      <a:cubicBezTo>
                        <a:pt x="329" y="13"/>
                        <a:pt x="366" y="25"/>
                        <a:pt x="403" y="35"/>
                      </a:cubicBezTo>
                      <a:cubicBezTo>
                        <a:pt x="405" y="50"/>
                        <a:pt x="411" y="63"/>
                        <a:pt x="413" y="78"/>
                      </a:cubicBezTo>
                      <a:cubicBezTo>
                        <a:pt x="414" y="95"/>
                        <a:pt x="413" y="112"/>
                        <a:pt x="414" y="130"/>
                      </a:cubicBezTo>
                      <a:cubicBezTo>
                        <a:pt x="414" y="142"/>
                        <a:pt x="420" y="152"/>
                        <a:pt x="421" y="163"/>
                      </a:cubicBezTo>
                      <a:cubicBezTo>
                        <a:pt x="422" y="185"/>
                        <a:pt x="421" y="205"/>
                        <a:pt x="424" y="225"/>
                      </a:cubicBezTo>
                      <a:cubicBezTo>
                        <a:pt x="429" y="265"/>
                        <a:pt x="441" y="302"/>
                        <a:pt x="446" y="341"/>
                      </a:cubicBezTo>
                      <a:cubicBezTo>
                        <a:pt x="451" y="384"/>
                        <a:pt x="449" y="426"/>
                        <a:pt x="452" y="475"/>
                      </a:cubicBezTo>
                      <a:cubicBezTo>
                        <a:pt x="450" y="480"/>
                        <a:pt x="443" y="472"/>
                        <a:pt x="439" y="471"/>
                      </a:cubicBezTo>
                      <a:cubicBezTo>
                        <a:pt x="424" y="467"/>
                        <a:pt x="404" y="467"/>
                        <a:pt x="395" y="476"/>
                      </a:cubicBezTo>
                      <a:cubicBezTo>
                        <a:pt x="395" y="489"/>
                        <a:pt x="395" y="500"/>
                        <a:pt x="395" y="513"/>
                      </a:cubicBezTo>
                      <a:cubicBezTo>
                        <a:pt x="375" y="513"/>
                        <a:pt x="357" y="519"/>
                        <a:pt x="340" y="517"/>
                      </a:cubicBezTo>
                      <a:cubicBezTo>
                        <a:pt x="312" y="514"/>
                        <a:pt x="301" y="490"/>
                        <a:pt x="289" y="470"/>
                      </a:cubicBezTo>
                      <a:cubicBezTo>
                        <a:pt x="273" y="443"/>
                        <a:pt x="256" y="400"/>
                        <a:pt x="248" y="372"/>
                      </a:cubicBezTo>
                      <a:cubicBezTo>
                        <a:pt x="238" y="428"/>
                        <a:pt x="235" y="489"/>
                        <a:pt x="206" y="527"/>
                      </a:cubicBezTo>
                      <a:cubicBezTo>
                        <a:pt x="171" y="544"/>
                        <a:pt x="108" y="532"/>
                        <a:pt x="70" y="523"/>
                      </a:cubicBezTo>
                      <a:cubicBezTo>
                        <a:pt x="70" y="515"/>
                        <a:pt x="70" y="506"/>
                        <a:pt x="70" y="499"/>
                      </a:cubicBezTo>
                      <a:cubicBezTo>
                        <a:pt x="63" y="501"/>
                        <a:pt x="61" y="490"/>
                        <a:pt x="56" y="486"/>
                      </a:cubicBezTo>
                      <a:cubicBezTo>
                        <a:pt x="35" y="486"/>
                        <a:pt x="19" y="492"/>
                        <a:pt x="4" y="499"/>
                      </a:cubicBezTo>
                      <a:cubicBezTo>
                        <a:pt x="7" y="454"/>
                        <a:pt x="0" y="410"/>
                        <a:pt x="4" y="364"/>
                      </a:cubicBezTo>
                      <a:cubicBezTo>
                        <a:pt x="4" y="350"/>
                        <a:pt x="10" y="336"/>
                        <a:pt x="12" y="322"/>
                      </a:cubicBezTo>
                      <a:cubicBezTo>
                        <a:pt x="14" y="303"/>
                        <a:pt x="14" y="283"/>
                        <a:pt x="16" y="264"/>
                      </a:cubicBezTo>
                      <a:cubicBezTo>
                        <a:pt x="23" y="218"/>
                        <a:pt x="24" y="170"/>
                        <a:pt x="33" y="124"/>
                      </a:cubicBezTo>
                      <a:cubicBezTo>
                        <a:pt x="40" y="97"/>
                        <a:pt x="41" y="69"/>
                        <a:pt x="49" y="44"/>
                      </a:cubicBezTo>
                      <a:cubicBezTo>
                        <a:pt x="67" y="35"/>
                        <a:pt x="87" y="31"/>
                        <a:pt x="107" y="25"/>
                      </a:cubicBezTo>
                      <a:cubicBezTo>
                        <a:pt x="125" y="17"/>
                        <a:pt x="143" y="9"/>
                        <a:pt x="163" y="4"/>
                      </a:cubicBezTo>
                      <a:cubicBezTo>
                        <a:pt x="175" y="54"/>
                        <a:pt x="184" y="105"/>
                        <a:pt x="196" y="153"/>
                      </a:cubicBezTo>
                      <a:cubicBezTo>
                        <a:pt x="205" y="189"/>
                        <a:pt x="217" y="223"/>
                        <a:pt x="228" y="255"/>
                      </a:cubicBezTo>
                      <a:cubicBezTo>
                        <a:pt x="232" y="265"/>
                        <a:pt x="235" y="279"/>
                        <a:pt x="244" y="285"/>
                      </a:cubicBezTo>
                      <a:cubicBezTo>
                        <a:pt x="251" y="280"/>
                        <a:pt x="249" y="271"/>
                        <a:pt x="251" y="265"/>
                      </a:cubicBezTo>
                      <a:cubicBezTo>
                        <a:pt x="252" y="257"/>
                        <a:pt x="253" y="250"/>
                        <a:pt x="256" y="242"/>
                      </a:cubicBezTo>
                      <a:cubicBezTo>
                        <a:pt x="265" y="196"/>
                        <a:pt x="278" y="154"/>
                        <a:pt x="285" y="109"/>
                      </a:cubicBezTo>
                      <a:cubicBezTo>
                        <a:pt x="290" y="75"/>
                        <a:pt x="286" y="35"/>
                        <a:pt x="289" y="0"/>
                      </a:cubicBezTo>
                      <a:close/>
                      <a:moveTo>
                        <a:pt x="80" y="314"/>
                      </a:moveTo>
                      <a:cubicBezTo>
                        <a:pt x="79" y="323"/>
                        <a:pt x="82" y="334"/>
                        <a:pt x="80" y="344"/>
                      </a:cubicBezTo>
                      <a:cubicBezTo>
                        <a:pt x="80" y="356"/>
                        <a:pt x="76" y="370"/>
                        <a:pt x="80" y="383"/>
                      </a:cubicBezTo>
                      <a:cubicBezTo>
                        <a:pt x="84" y="367"/>
                        <a:pt x="88" y="350"/>
                        <a:pt x="92" y="332"/>
                      </a:cubicBezTo>
                      <a:cubicBezTo>
                        <a:pt x="96" y="313"/>
                        <a:pt x="101" y="281"/>
                        <a:pt x="92" y="265"/>
                      </a:cubicBezTo>
                      <a:cubicBezTo>
                        <a:pt x="91" y="284"/>
                        <a:pt x="83" y="297"/>
                        <a:pt x="80" y="314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20" name="Freeform 163">
                  <a:extLst>
                    <a:ext uri="{FF2B5EF4-FFF2-40B4-BE49-F238E27FC236}">
                      <a16:creationId xmlns:a16="http://schemas.microsoft.com/office/drawing/2014/main" id="{B748340E-69B9-4A11-9E76-1C8A57597A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0225" y="1665292"/>
                  <a:ext cx="839790" cy="1258889"/>
                </a:xfrm>
                <a:custGeom>
                  <a:avLst/>
                  <a:gdLst>
                    <a:gd name="T0" fmla="*/ 160 w 224"/>
                    <a:gd name="T1" fmla="*/ 0 h 336"/>
                    <a:gd name="T2" fmla="*/ 161 w 224"/>
                    <a:gd name="T3" fmla="*/ 0 h 336"/>
                    <a:gd name="T4" fmla="*/ 192 w 224"/>
                    <a:gd name="T5" fmla="*/ 20 h 336"/>
                    <a:gd name="T6" fmla="*/ 219 w 224"/>
                    <a:gd name="T7" fmla="*/ 62 h 336"/>
                    <a:gd name="T8" fmla="*/ 202 w 224"/>
                    <a:gd name="T9" fmla="*/ 79 h 336"/>
                    <a:gd name="T10" fmla="*/ 224 w 224"/>
                    <a:gd name="T11" fmla="*/ 101 h 336"/>
                    <a:gd name="T12" fmla="*/ 224 w 224"/>
                    <a:gd name="T13" fmla="*/ 104 h 336"/>
                    <a:gd name="T14" fmla="*/ 122 w 224"/>
                    <a:gd name="T15" fmla="*/ 336 h 336"/>
                    <a:gd name="T16" fmla="*/ 121 w 224"/>
                    <a:gd name="T17" fmla="*/ 308 h 336"/>
                    <a:gd name="T18" fmla="*/ 2 w 224"/>
                    <a:gd name="T19" fmla="*/ 111 h 336"/>
                    <a:gd name="T20" fmla="*/ 17 w 224"/>
                    <a:gd name="T21" fmla="*/ 84 h 336"/>
                    <a:gd name="T22" fmla="*/ 0 w 224"/>
                    <a:gd name="T23" fmla="*/ 65 h 336"/>
                    <a:gd name="T24" fmla="*/ 0 w 224"/>
                    <a:gd name="T25" fmla="*/ 63 h 336"/>
                    <a:gd name="T26" fmla="*/ 48 w 224"/>
                    <a:gd name="T27" fmla="*/ 8 h 336"/>
                    <a:gd name="T28" fmla="*/ 122 w 224"/>
                    <a:gd name="T29" fmla="*/ 293 h 336"/>
                    <a:gd name="T30" fmla="*/ 160 w 224"/>
                    <a:gd name="T31" fmla="*/ 0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24" h="336">
                      <a:moveTo>
                        <a:pt x="160" y="0"/>
                      </a:moveTo>
                      <a:cubicBezTo>
                        <a:pt x="160" y="0"/>
                        <a:pt x="160" y="0"/>
                        <a:pt x="161" y="0"/>
                      </a:cubicBezTo>
                      <a:cubicBezTo>
                        <a:pt x="169" y="9"/>
                        <a:pt x="177" y="18"/>
                        <a:pt x="192" y="20"/>
                      </a:cubicBezTo>
                      <a:cubicBezTo>
                        <a:pt x="200" y="35"/>
                        <a:pt x="210" y="48"/>
                        <a:pt x="219" y="62"/>
                      </a:cubicBezTo>
                      <a:cubicBezTo>
                        <a:pt x="217" y="69"/>
                        <a:pt x="206" y="72"/>
                        <a:pt x="202" y="79"/>
                      </a:cubicBezTo>
                      <a:cubicBezTo>
                        <a:pt x="209" y="87"/>
                        <a:pt x="217" y="95"/>
                        <a:pt x="224" y="101"/>
                      </a:cubicBezTo>
                      <a:cubicBezTo>
                        <a:pt x="224" y="102"/>
                        <a:pt x="224" y="104"/>
                        <a:pt x="224" y="104"/>
                      </a:cubicBezTo>
                      <a:cubicBezTo>
                        <a:pt x="197" y="189"/>
                        <a:pt x="160" y="263"/>
                        <a:pt x="122" y="336"/>
                      </a:cubicBezTo>
                      <a:cubicBezTo>
                        <a:pt x="117" y="333"/>
                        <a:pt x="118" y="315"/>
                        <a:pt x="121" y="308"/>
                      </a:cubicBezTo>
                      <a:cubicBezTo>
                        <a:pt x="77" y="247"/>
                        <a:pt x="35" y="184"/>
                        <a:pt x="2" y="111"/>
                      </a:cubicBezTo>
                      <a:cubicBezTo>
                        <a:pt x="6" y="101"/>
                        <a:pt x="12" y="93"/>
                        <a:pt x="17" y="84"/>
                      </a:cubicBezTo>
                      <a:cubicBezTo>
                        <a:pt x="15" y="76"/>
                        <a:pt x="7" y="72"/>
                        <a:pt x="0" y="65"/>
                      </a:cubicBezTo>
                      <a:cubicBezTo>
                        <a:pt x="0" y="65"/>
                        <a:pt x="0" y="64"/>
                        <a:pt x="0" y="63"/>
                      </a:cubicBezTo>
                      <a:cubicBezTo>
                        <a:pt x="16" y="44"/>
                        <a:pt x="25" y="18"/>
                        <a:pt x="48" y="8"/>
                      </a:cubicBezTo>
                      <a:cubicBezTo>
                        <a:pt x="73" y="104"/>
                        <a:pt x="95" y="200"/>
                        <a:pt x="122" y="293"/>
                      </a:cubicBezTo>
                      <a:cubicBezTo>
                        <a:pt x="136" y="198"/>
                        <a:pt x="164" y="114"/>
                        <a:pt x="160" y="0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21" name="Freeform 164">
                  <a:extLst>
                    <a:ext uri="{FF2B5EF4-FFF2-40B4-BE49-F238E27FC236}">
                      <a16:creationId xmlns:a16="http://schemas.microsoft.com/office/drawing/2014/main" id="{77513A2F-9276-4AA6-8AEF-03F432A412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9611" y="1619255"/>
                  <a:ext cx="165099" cy="330202"/>
                </a:xfrm>
                <a:custGeom>
                  <a:avLst/>
                  <a:gdLst>
                    <a:gd name="T0" fmla="*/ 0 w 44"/>
                    <a:gd name="T1" fmla="*/ 21 h 88"/>
                    <a:gd name="T2" fmla="*/ 0 w 44"/>
                    <a:gd name="T3" fmla="*/ 21 h 88"/>
                    <a:gd name="T4" fmla="*/ 12 w 44"/>
                    <a:gd name="T5" fmla="*/ 0 h 88"/>
                    <a:gd name="T6" fmla="*/ 44 w 44"/>
                    <a:gd name="T7" fmla="*/ 46 h 88"/>
                    <a:gd name="T8" fmla="*/ 19 w 44"/>
                    <a:gd name="T9" fmla="*/ 88 h 88"/>
                    <a:gd name="T10" fmla="*/ 0 w 44"/>
                    <a:gd name="T11" fmla="*/ 21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4" h="88">
                      <a:moveTo>
                        <a:pt x="0" y="21"/>
                      </a:move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8" y="17"/>
                        <a:pt x="6" y="4"/>
                        <a:pt x="12" y="0"/>
                      </a:cubicBezTo>
                      <a:cubicBezTo>
                        <a:pt x="17" y="21"/>
                        <a:pt x="35" y="28"/>
                        <a:pt x="44" y="46"/>
                      </a:cubicBezTo>
                      <a:cubicBezTo>
                        <a:pt x="32" y="56"/>
                        <a:pt x="35" y="82"/>
                        <a:pt x="19" y="88"/>
                      </a:cubicBezTo>
                      <a:cubicBezTo>
                        <a:pt x="11" y="63"/>
                        <a:pt x="8" y="50"/>
                        <a:pt x="0" y="21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22" name="Freeform 165">
                  <a:extLst>
                    <a:ext uri="{FF2B5EF4-FFF2-40B4-BE49-F238E27FC236}">
                      <a16:creationId xmlns:a16="http://schemas.microsoft.com/office/drawing/2014/main" id="{443F97FA-D0B6-4A59-BEC0-8DE72CD93E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65526" y="1619255"/>
                  <a:ext cx="134939" cy="346075"/>
                </a:xfrm>
                <a:custGeom>
                  <a:avLst/>
                  <a:gdLst>
                    <a:gd name="T0" fmla="*/ 22 w 36"/>
                    <a:gd name="T1" fmla="*/ 0 h 92"/>
                    <a:gd name="T2" fmla="*/ 22 w 36"/>
                    <a:gd name="T3" fmla="*/ 92 h 92"/>
                    <a:gd name="T4" fmla="*/ 0 w 36"/>
                    <a:gd name="T5" fmla="*/ 46 h 92"/>
                    <a:gd name="T6" fmla="*/ 22 w 36"/>
                    <a:gd name="T7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92">
                      <a:moveTo>
                        <a:pt x="22" y="0"/>
                      </a:moveTo>
                      <a:cubicBezTo>
                        <a:pt x="36" y="13"/>
                        <a:pt x="29" y="69"/>
                        <a:pt x="22" y="92"/>
                      </a:cubicBezTo>
                      <a:cubicBezTo>
                        <a:pt x="3" y="91"/>
                        <a:pt x="8" y="55"/>
                        <a:pt x="0" y="46"/>
                      </a:cubicBezTo>
                      <a:cubicBezTo>
                        <a:pt x="4" y="29"/>
                        <a:pt x="22" y="26"/>
                        <a:pt x="22" y="0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23" name="Freeform 166">
                  <a:extLst>
                    <a:ext uri="{FF2B5EF4-FFF2-40B4-BE49-F238E27FC236}">
                      <a16:creationId xmlns:a16="http://schemas.microsoft.com/office/drawing/2014/main" id="{D33F565B-980A-4C8C-9D83-5639FED92B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6274" y="955678"/>
                  <a:ext cx="581026" cy="346075"/>
                </a:xfrm>
                <a:custGeom>
                  <a:avLst/>
                  <a:gdLst>
                    <a:gd name="T0" fmla="*/ 20 w 155"/>
                    <a:gd name="T1" fmla="*/ 49 h 92"/>
                    <a:gd name="T2" fmla="*/ 54 w 155"/>
                    <a:gd name="T3" fmla="*/ 54 h 92"/>
                    <a:gd name="T4" fmla="*/ 98 w 155"/>
                    <a:gd name="T5" fmla="*/ 59 h 92"/>
                    <a:gd name="T6" fmla="*/ 128 w 155"/>
                    <a:gd name="T7" fmla="*/ 67 h 92"/>
                    <a:gd name="T8" fmla="*/ 136 w 155"/>
                    <a:gd name="T9" fmla="*/ 92 h 92"/>
                    <a:gd name="T10" fmla="*/ 105 w 155"/>
                    <a:gd name="T11" fmla="*/ 5 h 92"/>
                    <a:gd name="T12" fmla="*/ 55 w 155"/>
                    <a:gd name="T13" fmla="*/ 4 h 92"/>
                    <a:gd name="T14" fmla="*/ 24 w 155"/>
                    <a:gd name="T15" fmla="*/ 21 h 92"/>
                    <a:gd name="T16" fmla="*/ 0 w 155"/>
                    <a:gd name="T17" fmla="*/ 45 h 92"/>
                    <a:gd name="T18" fmla="*/ 6 w 155"/>
                    <a:gd name="T19" fmla="*/ 91 h 92"/>
                    <a:gd name="T20" fmla="*/ 7 w 155"/>
                    <a:gd name="T21" fmla="*/ 91 h 92"/>
                    <a:gd name="T22" fmla="*/ 20 w 155"/>
                    <a:gd name="T23" fmla="*/ 49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5" h="92">
                      <a:moveTo>
                        <a:pt x="20" y="49"/>
                      </a:moveTo>
                      <a:cubicBezTo>
                        <a:pt x="28" y="48"/>
                        <a:pt x="33" y="47"/>
                        <a:pt x="54" y="54"/>
                      </a:cubicBezTo>
                      <a:cubicBezTo>
                        <a:pt x="75" y="60"/>
                        <a:pt x="90" y="69"/>
                        <a:pt x="98" y="59"/>
                      </a:cubicBezTo>
                      <a:cubicBezTo>
                        <a:pt x="107" y="49"/>
                        <a:pt x="127" y="62"/>
                        <a:pt x="128" y="67"/>
                      </a:cubicBezTo>
                      <a:cubicBezTo>
                        <a:pt x="130" y="73"/>
                        <a:pt x="136" y="92"/>
                        <a:pt x="136" y="92"/>
                      </a:cubicBezTo>
                      <a:cubicBezTo>
                        <a:pt x="155" y="54"/>
                        <a:pt x="132" y="19"/>
                        <a:pt x="105" y="5"/>
                      </a:cubicBezTo>
                      <a:cubicBezTo>
                        <a:pt x="86" y="5"/>
                        <a:pt x="69" y="0"/>
                        <a:pt x="55" y="4"/>
                      </a:cubicBezTo>
                      <a:cubicBezTo>
                        <a:pt x="43" y="6"/>
                        <a:pt x="34" y="15"/>
                        <a:pt x="24" y="21"/>
                      </a:cubicBezTo>
                      <a:cubicBezTo>
                        <a:pt x="15" y="29"/>
                        <a:pt x="4" y="35"/>
                        <a:pt x="0" y="45"/>
                      </a:cubicBezTo>
                      <a:cubicBezTo>
                        <a:pt x="1" y="62"/>
                        <a:pt x="1" y="77"/>
                        <a:pt x="6" y="91"/>
                      </a:cubicBezTo>
                      <a:cubicBezTo>
                        <a:pt x="7" y="91"/>
                        <a:pt x="7" y="91"/>
                        <a:pt x="7" y="91"/>
                      </a:cubicBezTo>
                      <a:cubicBezTo>
                        <a:pt x="9" y="82"/>
                        <a:pt x="14" y="51"/>
                        <a:pt x="20" y="49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24" name="Freeform 167">
                  <a:extLst>
                    <a:ext uri="{FF2B5EF4-FFF2-40B4-BE49-F238E27FC236}">
                      <a16:creationId xmlns:a16="http://schemas.microsoft.com/office/drawing/2014/main" id="{EF0CE1B9-F374-4DF3-9D90-2780DFDA11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6312" y="2133606"/>
                  <a:ext cx="71438" cy="96838"/>
                </a:xfrm>
                <a:custGeom>
                  <a:avLst/>
                  <a:gdLst>
                    <a:gd name="T0" fmla="*/ 5 w 19"/>
                    <a:gd name="T1" fmla="*/ 10 h 26"/>
                    <a:gd name="T2" fmla="*/ 11 w 19"/>
                    <a:gd name="T3" fmla="*/ 2 h 26"/>
                    <a:gd name="T4" fmla="*/ 15 w 19"/>
                    <a:gd name="T5" fmla="*/ 10 h 26"/>
                    <a:gd name="T6" fmla="*/ 0 w 19"/>
                    <a:gd name="T7" fmla="*/ 22 h 26"/>
                    <a:gd name="T8" fmla="*/ 5 w 19"/>
                    <a:gd name="T9" fmla="*/ 1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26">
                      <a:moveTo>
                        <a:pt x="5" y="10"/>
                      </a:moveTo>
                      <a:cubicBezTo>
                        <a:pt x="9" y="6"/>
                        <a:pt x="5" y="0"/>
                        <a:pt x="11" y="2"/>
                      </a:cubicBezTo>
                      <a:cubicBezTo>
                        <a:pt x="16" y="4"/>
                        <a:pt x="19" y="5"/>
                        <a:pt x="15" y="10"/>
                      </a:cubicBezTo>
                      <a:cubicBezTo>
                        <a:pt x="11" y="16"/>
                        <a:pt x="0" y="26"/>
                        <a:pt x="0" y="22"/>
                      </a:cubicBezTo>
                      <a:cubicBezTo>
                        <a:pt x="0" y="19"/>
                        <a:pt x="5" y="10"/>
                        <a:pt x="5" y="1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25" name="Freeform 168">
                  <a:extLst>
                    <a:ext uri="{FF2B5EF4-FFF2-40B4-BE49-F238E27FC236}">
                      <a16:creationId xmlns:a16="http://schemas.microsoft.com/office/drawing/2014/main" id="{094D3EEE-6F8B-4860-864B-5825E972A6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7261" y="2354269"/>
                  <a:ext cx="71438" cy="93661"/>
                </a:xfrm>
                <a:custGeom>
                  <a:avLst/>
                  <a:gdLst>
                    <a:gd name="T0" fmla="*/ 6 w 19"/>
                    <a:gd name="T1" fmla="*/ 10 h 25"/>
                    <a:gd name="T2" fmla="*/ 11 w 19"/>
                    <a:gd name="T3" fmla="*/ 2 h 25"/>
                    <a:gd name="T4" fmla="*/ 15 w 19"/>
                    <a:gd name="T5" fmla="*/ 10 h 25"/>
                    <a:gd name="T6" fmla="*/ 0 w 19"/>
                    <a:gd name="T7" fmla="*/ 22 h 25"/>
                    <a:gd name="T8" fmla="*/ 6 w 19"/>
                    <a:gd name="T9" fmla="*/ 1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25">
                      <a:moveTo>
                        <a:pt x="6" y="10"/>
                      </a:moveTo>
                      <a:cubicBezTo>
                        <a:pt x="9" y="5"/>
                        <a:pt x="6" y="0"/>
                        <a:pt x="11" y="2"/>
                      </a:cubicBezTo>
                      <a:cubicBezTo>
                        <a:pt x="16" y="4"/>
                        <a:pt x="19" y="4"/>
                        <a:pt x="15" y="10"/>
                      </a:cubicBezTo>
                      <a:cubicBezTo>
                        <a:pt x="11" y="15"/>
                        <a:pt x="0" y="25"/>
                        <a:pt x="0" y="22"/>
                      </a:cubicBezTo>
                      <a:cubicBezTo>
                        <a:pt x="0" y="19"/>
                        <a:pt x="6" y="10"/>
                        <a:pt x="6" y="1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26" name="Freeform 169">
                  <a:extLst>
                    <a:ext uri="{FF2B5EF4-FFF2-40B4-BE49-F238E27FC236}">
                      <a16:creationId xmlns:a16="http://schemas.microsoft.com/office/drawing/2014/main" id="{B72E70B3-C387-4613-B3E7-80D57E67F2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7349" y="2073282"/>
                  <a:ext cx="49214" cy="630240"/>
                </a:xfrm>
                <a:custGeom>
                  <a:avLst/>
                  <a:gdLst>
                    <a:gd name="T0" fmla="*/ 10 w 13"/>
                    <a:gd name="T1" fmla="*/ 168 h 168"/>
                    <a:gd name="T2" fmla="*/ 6 w 13"/>
                    <a:gd name="T3" fmla="*/ 39 h 168"/>
                    <a:gd name="T4" fmla="*/ 6 w 13"/>
                    <a:gd name="T5" fmla="*/ 10 h 168"/>
                    <a:gd name="T6" fmla="*/ 13 w 13"/>
                    <a:gd name="T7" fmla="*/ 10 h 168"/>
                    <a:gd name="T8" fmla="*/ 10 w 13"/>
                    <a:gd name="T9" fmla="*/ 168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68">
                      <a:moveTo>
                        <a:pt x="10" y="168"/>
                      </a:moveTo>
                      <a:cubicBezTo>
                        <a:pt x="10" y="168"/>
                        <a:pt x="11" y="61"/>
                        <a:pt x="6" y="39"/>
                      </a:cubicBezTo>
                      <a:cubicBezTo>
                        <a:pt x="0" y="17"/>
                        <a:pt x="2" y="10"/>
                        <a:pt x="6" y="10"/>
                      </a:cubicBezTo>
                      <a:cubicBezTo>
                        <a:pt x="10" y="10"/>
                        <a:pt x="13" y="0"/>
                        <a:pt x="13" y="10"/>
                      </a:cubicBezTo>
                      <a:cubicBezTo>
                        <a:pt x="13" y="20"/>
                        <a:pt x="10" y="168"/>
                        <a:pt x="10" y="168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27" name="Freeform 170">
                  <a:extLst>
                    <a:ext uri="{FF2B5EF4-FFF2-40B4-BE49-F238E27FC236}">
                      <a16:creationId xmlns:a16="http://schemas.microsoft.com/office/drawing/2014/main" id="{56E96ED6-91A1-43AF-97EF-D1592BD01F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6853" y="2106619"/>
                  <a:ext cx="98425" cy="1320804"/>
                </a:xfrm>
                <a:custGeom>
                  <a:avLst/>
                  <a:gdLst>
                    <a:gd name="T0" fmla="*/ 26 w 26"/>
                    <a:gd name="T1" fmla="*/ 352 h 352"/>
                    <a:gd name="T2" fmla="*/ 7 w 26"/>
                    <a:gd name="T3" fmla="*/ 213 h 352"/>
                    <a:gd name="T4" fmla="*/ 7 w 26"/>
                    <a:gd name="T5" fmla="*/ 145 h 352"/>
                    <a:gd name="T6" fmla="*/ 0 w 26"/>
                    <a:gd name="T7" fmla="*/ 30 h 352"/>
                    <a:gd name="T8" fmla="*/ 10 w 26"/>
                    <a:gd name="T9" fmla="*/ 0 h 352"/>
                    <a:gd name="T10" fmla="*/ 10 w 26"/>
                    <a:gd name="T11" fmla="*/ 6 h 352"/>
                    <a:gd name="T12" fmla="*/ 26 w 26"/>
                    <a:gd name="T13" fmla="*/ 352 h 3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352">
                      <a:moveTo>
                        <a:pt x="26" y="352"/>
                      </a:moveTo>
                      <a:cubicBezTo>
                        <a:pt x="26" y="347"/>
                        <a:pt x="8" y="236"/>
                        <a:pt x="7" y="213"/>
                      </a:cubicBezTo>
                      <a:cubicBezTo>
                        <a:pt x="6" y="189"/>
                        <a:pt x="9" y="165"/>
                        <a:pt x="7" y="145"/>
                      </a:cubicBezTo>
                      <a:cubicBezTo>
                        <a:pt x="5" y="126"/>
                        <a:pt x="0" y="48"/>
                        <a:pt x="0" y="30"/>
                      </a:cubicBezTo>
                      <a:cubicBezTo>
                        <a:pt x="1" y="12"/>
                        <a:pt x="10" y="0"/>
                        <a:pt x="10" y="0"/>
                      </a:cubicBezTo>
                      <a:cubicBezTo>
                        <a:pt x="10" y="6"/>
                        <a:pt x="10" y="6"/>
                        <a:pt x="10" y="6"/>
                      </a:cubicBezTo>
                      <a:lnTo>
                        <a:pt x="26" y="352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28" name="Freeform 171">
                  <a:extLst>
                    <a:ext uri="{FF2B5EF4-FFF2-40B4-BE49-F238E27FC236}">
                      <a16:creationId xmlns:a16="http://schemas.microsoft.com/office/drawing/2014/main" id="{6445E618-652A-430F-9557-4DEA3A62FB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0476" y="3135321"/>
                  <a:ext cx="222250" cy="58738"/>
                </a:xfrm>
                <a:custGeom>
                  <a:avLst/>
                  <a:gdLst>
                    <a:gd name="T0" fmla="*/ 0 w 59"/>
                    <a:gd name="T1" fmla="*/ 16 h 16"/>
                    <a:gd name="T2" fmla="*/ 52 w 59"/>
                    <a:gd name="T3" fmla="*/ 7 h 16"/>
                    <a:gd name="T4" fmla="*/ 59 w 59"/>
                    <a:gd name="T5" fmla="*/ 7 h 16"/>
                    <a:gd name="T6" fmla="*/ 0 w 59"/>
                    <a:gd name="T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9" h="16">
                      <a:moveTo>
                        <a:pt x="0" y="16"/>
                      </a:moveTo>
                      <a:cubicBezTo>
                        <a:pt x="0" y="16"/>
                        <a:pt x="49" y="13"/>
                        <a:pt x="52" y="7"/>
                      </a:cubicBezTo>
                      <a:cubicBezTo>
                        <a:pt x="55" y="0"/>
                        <a:pt x="59" y="3"/>
                        <a:pt x="59" y="7"/>
                      </a:cubicBezTo>
                      <a:cubicBezTo>
                        <a:pt x="58" y="11"/>
                        <a:pt x="0" y="16"/>
                        <a:pt x="0" y="16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29" name="Freeform 172">
                  <a:extLst>
                    <a:ext uri="{FF2B5EF4-FFF2-40B4-BE49-F238E27FC236}">
                      <a16:creationId xmlns:a16="http://schemas.microsoft.com/office/drawing/2014/main" id="{1A66B20E-A3A9-46F2-8D16-705D9C7025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57627" y="3224223"/>
                  <a:ext cx="198440" cy="282574"/>
                </a:xfrm>
                <a:custGeom>
                  <a:avLst/>
                  <a:gdLst>
                    <a:gd name="T0" fmla="*/ 44 w 53"/>
                    <a:gd name="T1" fmla="*/ 0 h 75"/>
                    <a:gd name="T2" fmla="*/ 53 w 53"/>
                    <a:gd name="T3" fmla="*/ 75 h 75"/>
                    <a:gd name="T4" fmla="*/ 24 w 53"/>
                    <a:gd name="T5" fmla="*/ 75 h 75"/>
                    <a:gd name="T6" fmla="*/ 14 w 53"/>
                    <a:gd name="T7" fmla="*/ 69 h 75"/>
                    <a:gd name="T8" fmla="*/ 34 w 53"/>
                    <a:gd name="T9" fmla="*/ 61 h 75"/>
                    <a:gd name="T10" fmla="*/ 22 w 53"/>
                    <a:gd name="T11" fmla="*/ 38 h 75"/>
                    <a:gd name="T12" fmla="*/ 44 w 53"/>
                    <a:gd name="T13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3" h="75">
                      <a:moveTo>
                        <a:pt x="44" y="0"/>
                      </a:moveTo>
                      <a:cubicBezTo>
                        <a:pt x="53" y="75"/>
                        <a:pt x="53" y="75"/>
                        <a:pt x="53" y="75"/>
                      </a:cubicBezTo>
                      <a:cubicBezTo>
                        <a:pt x="24" y="75"/>
                        <a:pt x="24" y="75"/>
                        <a:pt x="24" y="75"/>
                      </a:cubicBezTo>
                      <a:cubicBezTo>
                        <a:pt x="24" y="75"/>
                        <a:pt x="0" y="69"/>
                        <a:pt x="14" y="69"/>
                      </a:cubicBezTo>
                      <a:cubicBezTo>
                        <a:pt x="29" y="68"/>
                        <a:pt x="42" y="73"/>
                        <a:pt x="34" y="61"/>
                      </a:cubicBezTo>
                      <a:cubicBezTo>
                        <a:pt x="27" y="48"/>
                        <a:pt x="6" y="41"/>
                        <a:pt x="22" y="38"/>
                      </a:cubicBezTo>
                      <a:cubicBezTo>
                        <a:pt x="38" y="34"/>
                        <a:pt x="44" y="0"/>
                        <a:pt x="44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30" name="Freeform 173">
                  <a:extLst>
                    <a:ext uri="{FF2B5EF4-FFF2-40B4-BE49-F238E27FC236}">
                      <a16:creationId xmlns:a16="http://schemas.microsoft.com/office/drawing/2014/main" id="{9C6FCCF2-8271-4A9F-B076-1C60D6D91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9122" y="2576519"/>
                  <a:ext cx="60324" cy="490537"/>
                </a:xfrm>
                <a:custGeom>
                  <a:avLst/>
                  <a:gdLst>
                    <a:gd name="T0" fmla="*/ 0 w 38"/>
                    <a:gd name="T1" fmla="*/ 0 h 309"/>
                    <a:gd name="T2" fmla="*/ 29 w 38"/>
                    <a:gd name="T3" fmla="*/ 309 h 309"/>
                    <a:gd name="T4" fmla="*/ 38 w 38"/>
                    <a:gd name="T5" fmla="*/ 293 h 309"/>
                    <a:gd name="T6" fmla="*/ 0 w 38"/>
                    <a:gd name="T7" fmla="*/ 0 h 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8" h="309">
                      <a:moveTo>
                        <a:pt x="0" y="0"/>
                      </a:moveTo>
                      <a:lnTo>
                        <a:pt x="29" y="309"/>
                      </a:lnTo>
                      <a:lnTo>
                        <a:pt x="38" y="29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31" name="Freeform 174">
                  <a:extLst>
                    <a:ext uri="{FF2B5EF4-FFF2-40B4-BE49-F238E27FC236}">
                      <a16:creationId xmlns:a16="http://schemas.microsoft.com/office/drawing/2014/main" id="{CC049183-19BA-4261-ADE4-4C0E889BD0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7833" y="3157549"/>
                  <a:ext cx="288924" cy="93661"/>
                </a:xfrm>
                <a:custGeom>
                  <a:avLst/>
                  <a:gdLst>
                    <a:gd name="T0" fmla="*/ 0 w 77"/>
                    <a:gd name="T1" fmla="*/ 0 h 25"/>
                    <a:gd name="T2" fmla="*/ 75 w 77"/>
                    <a:gd name="T3" fmla="*/ 10 h 25"/>
                    <a:gd name="T4" fmla="*/ 68 w 77"/>
                    <a:gd name="T5" fmla="*/ 25 h 25"/>
                    <a:gd name="T6" fmla="*/ 0 w 77"/>
                    <a:gd name="T7" fmla="*/ 12 h 25"/>
                    <a:gd name="T8" fmla="*/ 0 w 77"/>
                    <a:gd name="T9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7" h="25">
                      <a:moveTo>
                        <a:pt x="0" y="0"/>
                      </a:moveTo>
                      <a:cubicBezTo>
                        <a:pt x="0" y="0"/>
                        <a:pt x="73" y="9"/>
                        <a:pt x="75" y="10"/>
                      </a:cubicBezTo>
                      <a:cubicBezTo>
                        <a:pt x="77" y="11"/>
                        <a:pt x="68" y="25"/>
                        <a:pt x="68" y="25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32" name="Freeform 175">
                  <a:extLst>
                    <a:ext uri="{FF2B5EF4-FFF2-40B4-BE49-F238E27FC236}">
                      <a16:creationId xmlns:a16="http://schemas.microsoft.com/office/drawing/2014/main" id="{07530608-D380-4498-88A0-4DD43E1EA9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7833" y="3333761"/>
                  <a:ext cx="242887" cy="236537"/>
                </a:xfrm>
                <a:custGeom>
                  <a:avLst/>
                  <a:gdLst>
                    <a:gd name="T0" fmla="*/ 65 w 65"/>
                    <a:gd name="T1" fmla="*/ 0 h 63"/>
                    <a:gd name="T2" fmla="*/ 50 w 65"/>
                    <a:gd name="T3" fmla="*/ 60 h 63"/>
                    <a:gd name="T4" fmla="*/ 9 w 65"/>
                    <a:gd name="T5" fmla="*/ 52 h 63"/>
                    <a:gd name="T6" fmla="*/ 18 w 65"/>
                    <a:gd name="T7" fmla="*/ 46 h 63"/>
                    <a:gd name="T8" fmla="*/ 49 w 65"/>
                    <a:gd name="T9" fmla="*/ 46 h 63"/>
                    <a:gd name="T10" fmla="*/ 65 w 65"/>
                    <a:gd name="T11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5" h="63">
                      <a:moveTo>
                        <a:pt x="65" y="0"/>
                      </a:moveTo>
                      <a:cubicBezTo>
                        <a:pt x="50" y="60"/>
                        <a:pt x="50" y="60"/>
                        <a:pt x="50" y="60"/>
                      </a:cubicBezTo>
                      <a:cubicBezTo>
                        <a:pt x="9" y="52"/>
                        <a:pt x="9" y="52"/>
                        <a:pt x="9" y="52"/>
                      </a:cubicBezTo>
                      <a:cubicBezTo>
                        <a:pt x="9" y="52"/>
                        <a:pt x="0" y="47"/>
                        <a:pt x="18" y="46"/>
                      </a:cubicBezTo>
                      <a:cubicBezTo>
                        <a:pt x="36" y="46"/>
                        <a:pt x="48" y="63"/>
                        <a:pt x="49" y="46"/>
                      </a:cubicBezTo>
                      <a:cubicBezTo>
                        <a:pt x="50" y="30"/>
                        <a:pt x="65" y="0"/>
                        <a:pt x="65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33" name="Freeform 176">
                  <a:extLst>
                    <a:ext uri="{FF2B5EF4-FFF2-40B4-BE49-F238E27FC236}">
                      <a16:creationId xmlns:a16="http://schemas.microsoft.com/office/drawing/2014/main" id="{94635543-DBA1-49DE-BDAE-2063A66CC5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70183" y="2201870"/>
                  <a:ext cx="41274" cy="168276"/>
                </a:xfrm>
                <a:custGeom>
                  <a:avLst/>
                  <a:gdLst>
                    <a:gd name="T0" fmla="*/ 0 w 11"/>
                    <a:gd name="T1" fmla="*/ 0 h 45"/>
                    <a:gd name="T2" fmla="*/ 0 w 11"/>
                    <a:gd name="T3" fmla="*/ 21 h 45"/>
                    <a:gd name="T4" fmla="*/ 2 w 11"/>
                    <a:gd name="T5" fmla="*/ 42 h 45"/>
                    <a:gd name="T6" fmla="*/ 10 w 11"/>
                    <a:gd name="T7" fmla="*/ 5 h 45"/>
                    <a:gd name="T8" fmla="*/ 0 w 11"/>
                    <a:gd name="T9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45">
                      <a:moveTo>
                        <a:pt x="0" y="0"/>
                      </a:moveTo>
                      <a:cubicBezTo>
                        <a:pt x="0" y="5"/>
                        <a:pt x="0" y="13"/>
                        <a:pt x="0" y="21"/>
                      </a:cubicBezTo>
                      <a:cubicBezTo>
                        <a:pt x="1" y="31"/>
                        <a:pt x="2" y="41"/>
                        <a:pt x="2" y="42"/>
                      </a:cubicBezTo>
                      <a:cubicBezTo>
                        <a:pt x="4" y="45"/>
                        <a:pt x="11" y="8"/>
                        <a:pt x="10" y="5"/>
                      </a:cubicBezTo>
                      <a:cubicBezTo>
                        <a:pt x="8" y="2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34" name="Freeform 177">
                  <a:extLst>
                    <a:ext uri="{FF2B5EF4-FFF2-40B4-BE49-F238E27FC236}">
                      <a16:creationId xmlns:a16="http://schemas.microsoft.com/office/drawing/2014/main" id="{2EE61FC9-58B6-4E30-966A-DE40556993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71758" y="2786069"/>
                  <a:ext cx="150812" cy="352425"/>
                </a:xfrm>
                <a:custGeom>
                  <a:avLst/>
                  <a:gdLst>
                    <a:gd name="T0" fmla="*/ 0 w 40"/>
                    <a:gd name="T1" fmla="*/ 0 h 94"/>
                    <a:gd name="T2" fmla="*/ 20 w 40"/>
                    <a:gd name="T3" fmla="*/ 64 h 94"/>
                    <a:gd name="T4" fmla="*/ 36 w 40"/>
                    <a:gd name="T5" fmla="*/ 82 h 94"/>
                    <a:gd name="T6" fmla="*/ 14 w 40"/>
                    <a:gd name="T7" fmla="*/ 26 h 94"/>
                    <a:gd name="T8" fmla="*/ 0 w 40"/>
                    <a:gd name="T9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94">
                      <a:moveTo>
                        <a:pt x="0" y="0"/>
                      </a:moveTo>
                      <a:cubicBezTo>
                        <a:pt x="0" y="0"/>
                        <a:pt x="12" y="47"/>
                        <a:pt x="20" y="64"/>
                      </a:cubicBezTo>
                      <a:cubicBezTo>
                        <a:pt x="28" y="82"/>
                        <a:pt x="40" y="94"/>
                        <a:pt x="36" y="82"/>
                      </a:cubicBezTo>
                      <a:cubicBezTo>
                        <a:pt x="32" y="69"/>
                        <a:pt x="20" y="36"/>
                        <a:pt x="14" y="26"/>
                      </a:cubicBezTo>
                      <a:cubicBezTo>
                        <a:pt x="9" y="15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35" name="Freeform 178">
                  <a:extLst>
                    <a:ext uri="{FF2B5EF4-FFF2-40B4-BE49-F238E27FC236}">
                      <a16:creationId xmlns:a16="http://schemas.microsoft.com/office/drawing/2014/main" id="{5A018B99-4DB6-469D-B4B7-D91307A8BB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9736" y="2860684"/>
                  <a:ext cx="49214" cy="247650"/>
                </a:xfrm>
                <a:custGeom>
                  <a:avLst/>
                  <a:gdLst>
                    <a:gd name="T0" fmla="*/ 0 w 13"/>
                    <a:gd name="T1" fmla="*/ 0 h 66"/>
                    <a:gd name="T2" fmla="*/ 10 w 13"/>
                    <a:gd name="T3" fmla="*/ 31 h 66"/>
                    <a:gd name="T4" fmla="*/ 6 w 13"/>
                    <a:gd name="T5" fmla="*/ 50 h 66"/>
                    <a:gd name="T6" fmla="*/ 0 w 13"/>
                    <a:gd name="T7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66">
                      <a:moveTo>
                        <a:pt x="0" y="0"/>
                      </a:moveTo>
                      <a:cubicBezTo>
                        <a:pt x="0" y="0"/>
                        <a:pt x="13" y="15"/>
                        <a:pt x="10" y="31"/>
                      </a:cubicBezTo>
                      <a:cubicBezTo>
                        <a:pt x="8" y="47"/>
                        <a:pt x="5" y="66"/>
                        <a:pt x="6" y="50"/>
                      </a:cubicBezTo>
                      <a:cubicBezTo>
                        <a:pt x="6" y="35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36" name="Freeform 188">
                  <a:extLst>
                    <a:ext uri="{FF2B5EF4-FFF2-40B4-BE49-F238E27FC236}">
                      <a16:creationId xmlns:a16="http://schemas.microsoft.com/office/drawing/2014/main" id="{AF608510-685A-4DD3-8DBF-E2C5B2B1E2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01994" y="1544640"/>
                  <a:ext cx="349252" cy="131762"/>
                </a:xfrm>
                <a:custGeom>
                  <a:avLst/>
                  <a:gdLst>
                    <a:gd name="T0" fmla="*/ 0 w 93"/>
                    <a:gd name="T1" fmla="*/ 0 h 35"/>
                    <a:gd name="T2" fmla="*/ 33 w 93"/>
                    <a:gd name="T3" fmla="*/ 29 h 35"/>
                    <a:gd name="T4" fmla="*/ 68 w 93"/>
                    <a:gd name="T5" fmla="*/ 24 h 35"/>
                    <a:gd name="T6" fmla="*/ 85 w 93"/>
                    <a:gd name="T7" fmla="*/ 7 h 35"/>
                    <a:gd name="T8" fmla="*/ 92 w 93"/>
                    <a:gd name="T9" fmla="*/ 6 h 35"/>
                    <a:gd name="T10" fmla="*/ 85 w 93"/>
                    <a:gd name="T11" fmla="*/ 19 h 35"/>
                    <a:gd name="T12" fmla="*/ 67 w 93"/>
                    <a:gd name="T13" fmla="*/ 32 h 35"/>
                    <a:gd name="T14" fmla="*/ 28 w 93"/>
                    <a:gd name="T15" fmla="*/ 32 h 35"/>
                    <a:gd name="T16" fmla="*/ 0 w 93"/>
                    <a:gd name="T17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3" h="35">
                      <a:moveTo>
                        <a:pt x="0" y="0"/>
                      </a:moveTo>
                      <a:cubicBezTo>
                        <a:pt x="2" y="4"/>
                        <a:pt x="21" y="25"/>
                        <a:pt x="33" y="29"/>
                      </a:cubicBezTo>
                      <a:cubicBezTo>
                        <a:pt x="45" y="32"/>
                        <a:pt x="63" y="29"/>
                        <a:pt x="68" y="24"/>
                      </a:cubicBezTo>
                      <a:cubicBezTo>
                        <a:pt x="73" y="19"/>
                        <a:pt x="84" y="9"/>
                        <a:pt x="85" y="7"/>
                      </a:cubicBezTo>
                      <a:cubicBezTo>
                        <a:pt x="86" y="5"/>
                        <a:pt x="93" y="1"/>
                        <a:pt x="92" y="6"/>
                      </a:cubicBezTo>
                      <a:cubicBezTo>
                        <a:pt x="91" y="10"/>
                        <a:pt x="89" y="14"/>
                        <a:pt x="85" y="19"/>
                      </a:cubicBezTo>
                      <a:cubicBezTo>
                        <a:pt x="82" y="24"/>
                        <a:pt x="75" y="33"/>
                        <a:pt x="67" y="32"/>
                      </a:cubicBezTo>
                      <a:cubicBezTo>
                        <a:pt x="58" y="32"/>
                        <a:pt x="36" y="35"/>
                        <a:pt x="28" y="32"/>
                      </a:cubicBezTo>
                      <a:cubicBezTo>
                        <a:pt x="19" y="3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37" name="Freeform 103">
                  <a:extLst>
                    <a:ext uri="{FF2B5EF4-FFF2-40B4-BE49-F238E27FC236}">
                      <a16:creationId xmlns:a16="http://schemas.microsoft.com/office/drawing/2014/main" id="{677B177B-B8C5-46D1-9E60-29B50FEAB6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53697" y="1061826"/>
                  <a:ext cx="226796" cy="66888"/>
                </a:xfrm>
                <a:custGeom>
                  <a:avLst/>
                  <a:gdLst>
                    <a:gd name="T0" fmla="*/ 9 w 49"/>
                    <a:gd name="T1" fmla="*/ 1 h 23"/>
                    <a:gd name="T2" fmla="*/ 24 w 49"/>
                    <a:gd name="T3" fmla="*/ 8 h 23"/>
                    <a:gd name="T4" fmla="*/ 31 w 49"/>
                    <a:gd name="T5" fmla="*/ 7 h 23"/>
                    <a:gd name="T6" fmla="*/ 44 w 49"/>
                    <a:gd name="T7" fmla="*/ 17 h 23"/>
                    <a:gd name="T8" fmla="*/ 37 w 49"/>
                    <a:gd name="T9" fmla="*/ 17 h 23"/>
                    <a:gd name="T10" fmla="*/ 13 w 49"/>
                    <a:gd name="T11" fmla="*/ 10 h 23"/>
                    <a:gd name="T12" fmla="*/ 9 w 49"/>
                    <a:gd name="T13" fmla="*/ 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3">
                      <a:moveTo>
                        <a:pt x="9" y="1"/>
                      </a:moveTo>
                      <a:cubicBezTo>
                        <a:pt x="9" y="1"/>
                        <a:pt x="20" y="7"/>
                        <a:pt x="24" y="8"/>
                      </a:cubicBezTo>
                      <a:cubicBezTo>
                        <a:pt x="28" y="9"/>
                        <a:pt x="31" y="9"/>
                        <a:pt x="31" y="7"/>
                      </a:cubicBezTo>
                      <a:cubicBezTo>
                        <a:pt x="31" y="4"/>
                        <a:pt x="40" y="11"/>
                        <a:pt x="44" y="17"/>
                      </a:cubicBezTo>
                      <a:cubicBezTo>
                        <a:pt x="49" y="23"/>
                        <a:pt x="44" y="21"/>
                        <a:pt x="37" y="17"/>
                      </a:cubicBezTo>
                      <a:cubicBezTo>
                        <a:pt x="30" y="13"/>
                        <a:pt x="20" y="15"/>
                        <a:pt x="13" y="10"/>
                      </a:cubicBezTo>
                      <a:cubicBezTo>
                        <a:pt x="6" y="5"/>
                        <a:pt x="0" y="0"/>
                        <a:pt x="9" y="1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38" name="Freeform 104">
                  <a:extLst>
                    <a:ext uri="{FF2B5EF4-FFF2-40B4-BE49-F238E27FC236}">
                      <a16:creationId xmlns:a16="http://schemas.microsoft.com/office/drawing/2014/main" id="{4CAF3AF0-F173-4486-8711-698F5296FD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8643239">
                  <a:off x="3555600" y="1040771"/>
                  <a:ext cx="87944" cy="175885"/>
                </a:xfrm>
                <a:custGeom>
                  <a:avLst/>
                  <a:gdLst>
                    <a:gd name="T0" fmla="*/ 12 w 30"/>
                    <a:gd name="T1" fmla="*/ 25 h 60"/>
                    <a:gd name="T2" fmla="*/ 20 w 30"/>
                    <a:gd name="T3" fmla="*/ 19 h 60"/>
                    <a:gd name="T4" fmla="*/ 22 w 30"/>
                    <a:gd name="T5" fmla="*/ 4 h 60"/>
                    <a:gd name="T6" fmla="*/ 24 w 30"/>
                    <a:gd name="T7" fmla="*/ 26 h 60"/>
                    <a:gd name="T8" fmla="*/ 21 w 30"/>
                    <a:gd name="T9" fmla="*/ 37 h 60"/>
                    <a:gd name="T10" fmla="*/ 14 w 30"/>
                    <a:gd name="T11" fmla="*/ 48 h 60"/>
                    <a:gd name="T12" fmla="*/ 8 w 30"/>
                    <a:gd name="T13" fmla="*/ 35 h 60"/>
                    <a:gd name="T14" fmla="*/ 12 w 30"/>
                    <a:gd name="T15" fmla="*/ 25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0" h="60">
                      <a:moveTo>
                        <a:pt x="12" y="25"/>
                      </a:moveTo>
                      <a:cubicBezTo>
                        <a:pt x="12" y="25"/>
                        <a:pt x="17" y="24"/>
                        <a:pt x="20" y="19"/>
                      </a:cubicBezTo>
                      <a:cubicBezTo>
                        <a:pt x="24" y="14"/>
                        <a:pt x="22" y="8"/>
                        <a:pt x="22" y="4"/>
                      </a:cubicBezTo>
                      <a:cubicBezTo>
                        <a:pt x="21" y="0"/>
                        <a:pt x="30" y="16"/>
                        <a:pt x="24" y="26"/>
                      </a:cubicBezTo>
                      <a:cubicBezTo>
                        <a:pt x="24" y="26"/>
                        <a:pt x="21" y="34"/>
                        <a:pt x="21" y="37"/>
                      </a:cubicBezTo>
                      <a:cubicBezTo>
                        <a:pt x="21" y="40"/>
                        <a:pt x="20" y="46"/>
                        <a:pt x="14" y="48"/>
                      </a:cubicBezTo>
                      <a:cubicBezTo>
                        <a:pt x="8" y="50"/>
                        <a:pt x="0" y="60"/>
                        <a:pt x="8" y="35"/>
                      </a:cubicBezTo>
                      <a:lnTo>
                        <a:pt x="12" y="25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366" name="AutoShape 25">
                <a:extLst>
                  <a:ext uri="{FF2B5EF4-FFF2-40B4-BE49-F238E27FC236}">
                    <a16:creationId xmlns:a16="http://schemas.microsoft.com/office/drawing/2014/main" id="{EC83574E-57E6-4D9B-A429-9A696057E7E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186187" flipH="1">
                <a:off x="2537765" y="3836692"/>
                <a:ext cx="158509" cy="327676"/>
              </a:xfrm>
              <a:custGeom>
                <a:avLst/>
                <a:gdLst>
                  <a:gd name="T0" fmla="*/ 794460491 w 792"/>
                  <a:gd name="T1" fmla="*/ 729941208 h 2536"/>
                  <a:gd name="T2" fmla="*/ 794460491 w 792"/>
                  <a:gd name="T3" fmla="*/ 729941208 h 2536"/>
                  <a:gd name="T4" fmla="*/ 794460491 w 792"/>
                  <a:gd name="T5" fmla="*/ 729941208 h 2536"/>
                  <a:gd name="T6" fmla="*/ 794460491 w 792"/>
                  <a:gd name="T7" fmla="*/ 729941208 h 2536"/>
                  <a:gd name="T8" fmla="*/ 794460491 w 792"/>
                  <a:gd name="T9" fmla="*/ 729941208 h 2536"/>
                  <a:gd name="T10" fmla="*/ 794460491 w 792"/>
                  <a:gd name="T11" fmla="*/ 729941208 h 2536"/>
                  <a:gd name="T12" fmla="*/ 794460491 w 792"/>
                  <a:gd name="T13" fmla="*/ 729941208 h 2536"/>
                  <a:gd name="T14" fmla="*/ 794460491 w 792"/>
                  <a:gd name="T15" fmla="*/ 729941208 h 2536"/>
                  <a:gd name="T16" fmla="*/ 794460491 w 792"/>
                  <a:gd name="T17" fmla="*/ 729941208 h 2536"/>
                  <a:gd name="T18" fmla="*/ 794460491 w 792"/>
                  <a:gd name="T19" fmla="*/ 729941208 h 2536"/>
                  <a:gd name="T20" fmla="*/ 794460491 w 792"/>
                  <a:gd name="T21" fmla="*/ 729941208 h 2536"/>
                  <a:gd name="T22" fmla="*/ 794460491 w 792"/>
                  <a:gd name="T23" fmla="*/ 729941208 h 2536"/>
                  <a:gd name="T24" fmla="*/ 794460491 w 792"/>
                  <a:gd name="T25" fmla="*/ 729941208 h 2536"/>
                  <a:gd name="T26" fmla="*/ 794460491 w 792"/>
                  <a:gd name="T27" fmla="*/ 729941208 h 2536"/>
                  <a:gd name="T28" fmla="*/ 0 w 792"/>
                  <a:gd name="T29" fmla="*/ 729941208 h 2536"/>
                  <a:gd name="T30" fmla="*/ 794460491 w 792"/>
                  <a:gd name="T31" fmla="*/ 729941208 h 2536"/>
                  <a:gd name="T32" fmla="*/ 794460491 w 792"/>
                  <a:gd name="T33" fmla="*/ 729941208 h 2536"/>
                  <a:gd name="T34" fmla="*/ 794460491 w 792"/>
                  <a:gd name="T35" fmla="*/ 729941208 h 2536"/>
                  <a:gd name="T36" fmla="*/ 794460491 w 792"/>
                  <a:gd name="T37" fmla="*/ 729941208 h 2536"/>
                  <a:gd name="T38" fmla="*/ 794460491 w 792"/>
                  <a:gd name="T39" fmla="*/ 729941208 h 2536"/>
                  <a:gd name="T40" fmla="*/ 794460491 w 792"/>
                  <a:gd name="T41" fmla="*/ 729941208 h 2536"/>
                  <a:gd name="T42" fmla="*/ 794460491 w 792"/>
                  <a:gd name="T43" fmla="*/ 729941208 h 2536"/>
                  <a:gd name="T44" fmla="*/ 794460491 w 792"/>
                  <a:gd name="T45" fmla="*/ 729941208 h 2536"/>
                  <a:gd name="T46" fmla="*/ 794460491 w 792"/>
                  <a:gd name="T47" fmla="*/ 729941208 h 2536"/>
                  <a:gd name="T48" fmla="*/ 794460491 w 792"/>
                  <a:gd name="T49" fmla="*/ 729941208 h 2536"/>
                  <a:gd name="T50" fmla="*/ 794460491 w 792"/>
                  <a:gd name="T51" fmla="*/ 729941208 h 2536"/>
                  <a:gd name="T52" fmla="*/ 794460491 w 792"/>
                  <a:gd name="T53" fmla="*/ 729941208 h 2536"/>
                  <a:gd name="T54" fmla="*/ 794460491 w 792"/>
                  <a:gd name="T55" fmla="*/ 729941208 h 2536"/>
                  <a:gd name="T56" fmla="*/ 794460491 w 792"/>
                  <a:gd name="T57" fmla="*/ 729941208 h 2536"/>
                  <a:gd name="T58" fmla="*/ 794460491 w 792"/>
                  <a:gd name="T59" fmla="*/ 729941208 h 2536"/>
                  <a:gd name="T60" fmla="*/ 794460491 w 792"/>
                  <a:gd name="T61" fmla="*/ 729941208 h 2536"/>
                  <a:gd name="T62" fmla="*/ 794460491 w 792"/>
                  <a:gd name="T63" fmla="*/ 729941208 h 2536"/>
                  <a:gd name="T64" fmla="*/ 794460491 w 792"/>
                  <a:gd name="T65" fmla="*/ 729941208 h 2536"/>
                  <a:gd name="T66" fmla="*/ 794460491 w 792"/>
                  <a:gd name="T67" fmla="*/ 729941208 h 2536"/>
                  <a:gd name="T68" fmla="*/ 794460491 w 792"/>
                  <a:gd name="T69" fmla="*/ 729941208 h 2536"/>
                  <a:gd name="T70" fmla="*/ 794460491 w 792"/>
                  <a:gd name="T71" fmla="*/ 729941208 h 2536"/>
                  <a:gd name="T72" fmla="*/ 794460491 w 792"/>
                  <a:gd name="T73" fmla="*/ 729941208 h 2536"/>
                  <a:gd name="T74" fmla="*/ 794460491 w 792"/>
                  <a:gd name="T75" fmla="*/ 729941208 h 2536"/>
                  <a:gd name="T76" fmla="*/ 794460491 w 792"/>
                  <a:gd name="T77" fmla="*/ 729941208 h 2536"/>
                  <a:gd name="T78" fmla="*/ 794460491 w 792"/>
                  <a:gd name="T79" fmla="*/ 729941208 h 2536"/>
                  <a:gd name="T80" fmla="*/ 794460491 w 792"/>
                  <a:gd name="T81" fmla="*/ 729941208 h 2536"/>
                  <a:gd name="T82" fmla="*/ 794460491 w 792"/>
                  <a:gd name="T83" fmla="*/ 729941208 h 2536"/>
                  <a:gd name="T84" fmla="*/ 794460491 w 792"/>
                  <a:gd name="T85" fmla="*/ 729941208 h 2536"/>
                  <a:gd name="T86" fmla="*/ 794460491 w 792"/>
                  <a:gd name="T87" fmla="*/ 729941208 h 2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92"/>
                  <a:gd name="T133" fmla="*/ 0 h 2536"/>
                  <a:gd name="T134" fmla="*/ 792 w 792"/>
                  <a:gd name="T135" fmla="*/ 2536 h 2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92" h="2536">
                    <a:moveTo>
                      <a:pt x="752" y="900"/>
                    </a:moveTo>
                    <a:cubicBezTo>
                      <a:pt x="752" y="888"/>
                      <a:pt x="744" y="880"/>
                      <a:pt x="740" y="872"/>
                    </a:cubicBezTo>
                    <a:cubicBezTo>
                      <a:pt x="720" y="760"/>
                      <a:pt x="736" y="656"/>
                      <a:pt x="724" y="548"/>
                    </a:cubicBezTo>
                    <a:cubicBezTo>
                      <a:pt x="724" y="524"/>
                      <a:pt x="724" y="500"/>
                      <a:pt x="716" y="480"/>
                    </a:cubicBezTo>
                    <a:cubicBezTo>
                      <a:pt x="712" y="472"/>
                      <a:pt x="704" y="464"/>
                      <a:pt x="696" y="456"/>
                    </a:cubicBezTo>
                    <a:cubicBezTo>
                      <a:pt x="688" y="452"/>
                      <a:pt x="668" y="452"/>
                      <a:pt x="672" y="444"/>
                    </a:cubicBezTo>
                    <a:cubicBezTo>
                      <a:pt x="688" y="332"/>
                      <a:pt x="664" y="224"/>
                      <a:pt x="656" y="116"/>
                    </a:cubicBezTo>
                    <a:cubicBezTo>
                      <a:pt x="652" y="56"/>
                      <a:pt x="600" y="0"/>
                      <a:pt x="532" y="8"/>
                    </a:cubicBezTo>
                    <a:cubicBezTo>
                      <a:pt x="512" y="12"/>
                      <a:pt x="492" y="16"/>
                      <a:pt x="472" y="32"/>
                    </a:cubicBezTo>
                    <a:cubicBezTo>
                      <a:pt x="440" y="60"/>
                      <a:pt x="416" y="88"/>
                      <a:pt x="400" y="124"/>
                    </a:cubicBezTo>
                    <a:cubicBezTo>
                      <a:pt x="392" y="148"/>
                      <a:pt x="380" y="164"/>
                      <a:pt x="372" y="188"/>
                    </a:cubicBezTo>
                    <a:cubicBezTo>
                      <a:pt x="364" y="212"/>
                      <a:pt x="364" y="232"/>
                      <a:pt x="360" y="256"/>
                    </a:cubicBezTo>
                    <a:cubicBezTo>
                      <a:pt x="356" y="272"/>
                      <a:pt x="364" y="284"/>
                      <a:pt x="364" y="296"/>
                    </a:cubicBezTo>
                    <a:cubicBezTo>
                      <a:pt x="364" y="352"/>
                      <a:pt x="308" y="388"/>
                      <a:pt x="264" y="416"/>
                    </a:cubicBezTo>
                    <a:cubicBezTo>
                      <a:pt x="240" y="432"/>
                      <a:pt x="204" y="428"/>
                      <a:pt x="184" y="452"/>
                    </a:cubicBezTo>
                    <a:cubicBezTo>
                      <a:pt x="144" y="496"/>
                      <a:pt x="160" y="556"/>
                      <a:pt x="144" y="608"/>
                    </a:cubicBezTo>
                    <a:cubicBezTo>
                      <a:pt x="144" y="612"/>
                      <a:pt x="156" y="616"/>
                      <a:pt x="152" y="628"/>
                    </a:cubicBezTo>
                    <a:cubicBezTo>
                      <a:pt x="148" y="696"/>
                      <a:pt x="156" y="764"/>
                      <a:pt x="140" y="832"/>
                    </a:cubicBezTo>
                    <a:cubicBezTo>
                      <a:pt x="128" y="876"/>
                      <a:pt x="120" y="916"/>
                      <a:pt x="116" y="960"/>
                    </a:cubicBezTo>
                    <a:cubicBezTo>
                      <a:pt x="112" y="1024"/>
                      <a:pt x="116" y="1088"/>
                      <a:pt x="116" y="1152"/>
                    </a:cubicBezTo>
                    <a:cubicBezTo>
                      <a:pt x="116" y="1212"/>
                      <a:pt x="108" y="1272"/>
                      <a:pt x="96" y="1336"/>
                    </a:cubicBezTo>
                    <a:cubicBezTo>
                      <a:pt x="92" y="1360"/>
                      <a:pt x="104" y="1384"/>
                      <a:pt x="120" y="1404"/>
                    </a:cubicBezTo>
                    <a:cubicBezTo>
                      <a:pt x="136" y="1424"/>
                      <a:pt x="164" y="1432"/>
                      <a:pt x="188" y="1436"/>
                    </a:cubicBezTo>
                    <a:cubicBezTo>
                      <a:pt x="192" y="1436"/>
                      <a:pt x="196" y="1440"/>
                      <a:pt x="196" y="1444"/>
                    </a:cubicBezTo>
                    <a:cubicBezTo>
                      <a:pt x="192" y="1540"/>
                      <a:pt x="192" y="1636"/>
                      <a:pt x="180" y="1736"/>
                    </a:cubicBezTo>
                    <a:cubicBezTo>
                      <a:pt x="180" y="1744"/>
                      <a:pt x="188" y="1748"/>
                      <a:pt x="188" y="1752"/>
                    </a:cubicBezTo>
                    <a:cubicBezTo>
                      <a:pt x="188" y="1820"/>
                      <a:pt x="152" y="1884"/>
                      <a:pt x="148" y="1956"/>
                    </a:cubicBezTo>
                    <a:cubicBezTo>
                      <a:pt x="144" y="2056"/>
                      <a:pt x="156" y="2152"/>
                      <a:pt x="148" y="2252"/>
                    </a:cubicBezTo>
                    <a:cubicBezTo>
                      <a:pt x="148" y="2316"/>
                      <a:pt x="120" y="2376"/>
                      <a:pt x="88" y="2432"/>
                    </a:cubicBezTo>
                    <a:cubicBezTo>
                      <a:pt x="64" y="2468"/>
                      <a:pt x="24" y="2484"/>
                      <a:pt x="0" y="2516"/>
                    </a:cubicBezTo>
                    <a:cubicBezTo>
                      <a:pt x="52" y="2512"/>
                      <a:pt x="104" y="2516"/>
                      <a:pt x="152" y="2492"/>
                    </a:cubicBezTo>
                    <a:cubicBezTo>
                      <a:pt x="148" y="2460"/>
                      <a:pt x="180" y="2424"/>
                      <a:pt x="208" y="2424"/>
                    </a:cubicBezTo>
                    <a:cubicBezTo>
                      <a:pt x="224" y="2428"/>
                      <a:pt x="204" y="2460"/>
                      <a:pt x="220" y="2476"/>
                    </a:cubicBezTo>
                    <a:cubicBezTo>
                      <a:pt x="220" y="2448"/>
                      <a:pt x="224" y="2420"/>
                      <a:pt x="244" y="2396"/>
                    </a:cubicBezTo>
                    <a:cubicBezTo>
                      <a:pt x="268" y="2372"/>
                      <a:pt x="248" y="2336"/>
                      <a:pt x="224" y="2312"/>
                    </a:cubicBezTo>
                    <a:cubicBezTo>
                      <a:pt x="224" y="2308"/>
                      <a:pt x="221" y="2300"/>
                      <a:pt x="220" y="2292"/>
                    </a:cubicBezTo>
                    <a:cubicBezTo>
                      <a:pt x="216" y="2244"/>
                      <a:pt x="224" y="2196"/>
                      <a:pt x="236" y="2144"/>
                    </a:cubicBezTo>
                    <a:cubicBezTo>
                      <a:pt x="244" y="2084"/>
                      <a:pt x="264" y="2032"/>
                      <a:pt x="280" y="1972"/>
                    </a:cubicBezTo>
                    <a:cubicBezTo>
                      <a:pt x="296" y="1916"/>
                      <a:pt x="284" y="1856"/>
                      <a:pt x="304" y="1800"/>
                    </a:cubicBezTo>
                    <a:cubicBezTo>
                      <a:pt x="308" y="1784"/>
                      <a:pt x="312" y="1760"/>
                      <a:pt x="328" y="1752"/>
                    </a:cubicBezTo>
                    <a:cubicBezTo>
                      <a:pt x="352" y="1740"/>
                      <a:pt x="380" y="1740"/>
                      <a:pt x="404" y="1744"/>
                    </a:cubicBezTo>
                    <a:cubicBezTo>
                      <a:pt x="432" y="1744"/>
                      <a:pt x="460" y="1748"/>
                      <a:pt x="488" y="1752"/>
                    </a:cubicBezTo>
                    <a:cubicBezTo>
                      <a:pt x="500" y="1756"/>
                      <a:pt x="504" y="1768"/>
                      <a:pt x="508" y="1780"/>
                    </a:cubicBezTo>
                    <a:cubicBezTo>
                      <a:pt x="512" y="1840"/>
                      <a:pt x="496" y="1896"/>
                      <a:pt x="488" y="1956"/>
                    </a:cubicBezTo>
                    <a:cubicBezTo>
                      <a:pt x="484" y="2024"/>
                      <a:pt x="496" y="2092"/>
                      <a:pt x="480" y="2164"/>
                    </a:cubicBezTo>
                    <a:cubicBezTo>
                      <a:pt x="476" y="2192"/>
                      <a:pt x="476" y="2220"/>
                      <a:pt x="468" y="2248"/>
                    </a:cubicBezTo>
                    <a:cubicBezTo>
                      <a:pt x="460" y="2272"/>
                      <a:pt x="448" y="2292"/>
                      <a:pt x="444" y="2320"/>
                    </a:cubicBezTo>
                    <a:cubicBezTo>
                      <a:pt x="440" y="2328"/>
                      <a:pt x="428" y="2328"/>
                      <a:pt x="428" y="2340"/>
                    </a:cubicBezTo>
                    <a:cubicBezTo>
                      <a:pt x="424" y="2352"/>
                      <a:pt x="420" y="2364"/>
                      <a:pt x="420" y="2376"/>
                    </a:cubicBezTo>
                    <a:cubicBezTo>
                      <a:pt x="424" y="2392"/>
                      <a:pt x="440" y="2404"/>
                      <a:pt x="444" y="2416"/>
                    </a:cubicBezTo>
                    <a:cubicBezTo>
                      <a:pt x="452" y="2432"/>
                      <a:pt x="452" y="2452"/>
                      <a:pt x="448" y="2468"/>
                    </a:cubicBezTo>
                    <a:cubicBezTo>
                      <a:pt x="444" y="2476"/>
                      <a:pt x="436" y="2488"/>
                      <a:pt x="444" y="2496"/>
                    </a:cubicBezTo>
                    <a:cubicBezTo>
                      <a:pt x="480" y="2524"/>
                      <a:pt x="564" y="2536"/>
                      <a:pt x="552" y="2472"/>
                    </a:cubicBezTo>
                    <a:cubicBezTo>
                      <a:pt x="540" y="2432"/>
                      <a:pt x="512" y="2392"/>
                      <a:pt x="516" y="2348"/>
                    </a:cubicBezTo>
                    <a:cubicBezTo>
                      <a:pt x="516" y="2312"/>
                      <a:pt x="520" y="2276"/>
                      <a:pt x="532" y="2240"/>
                    </a:cubicBezTo>
                    <a:cubicBezTo>
                      <a:pt x="596" y="2088"/>
                      <a:pt x="640" y="1932"/>
                      <a:pt x="624" y="1768"/>
                    </a:cubicBezTo>
                    <a:cubicBezTo>
                      <a:pt x="652" y="1744"/>
                      <a:pt x="696" y="1748"/>
                      <a:pt x="732" y="1748"/>
                    </a:cubicBezTo>
                    <a:cubicBezTo>
                      <a:pt x="736" y="1640"/>
                      <a:pt x="708" y="1536"/>
                      <a:pt x="724" y="1428"/>
                    </a:cubicBezTo>
                    <a:cubicBezTo>
                      <a:pt x="728" y="1408"/>
                      <a:pt x="756" y="1416"/>
                      <a:pt x="768" y="1404"/>
                    </a:cubicBezTo>
                    <a:cubicBezTo>
                      <a:pt x="784" y="1392"/>
                      <a:pt x="792" y="1368"/>
                      <a:pt x="792" y="1356"/>
                    </a:cubicBezTo>
                    <a:cubicBezTo>
                      <a:pt x="740" y="1204"/>
                      <a:pt x="784" y="1060"/>
                      <a:pt x="752" y="900"/>
                    </a:cubicBezTo>
                    <a:close/>
                    <a:moveTo>
                      <a:pt x="208" y="1272"/>
                    </a:moveTo>
                    <a:cubicBezTo>
                      <a:pt x="200" y="1316"/>
                      <a:pt x="200" y="1364"/>
                      <a:pt x="200" y="1408"/>
                    </a:cubicBezTo>
                    <a:cubicBezTo>
                      <a:pt x="200" y="1416"/>
                      <a:pt x="204" y="1432"/>
                      <a:pt x="192" y="1428"/>
                    </a:cubicBezTo>
                    <a:cubicBezTo>
                      <a:pt x="176" y="1428"/>
                      <a:pt x="172" y="1420"/>
                      <a:pt x="160" y="1408"/>
                    </a:cubicBezTo>
                    <a:cubicBezTo>
                      <a:pt x="160" y="1404"/>
                      <a:pt x="160" y="1400"/>
                      <a:pt x="160" y="1396"/>
                    </a:cubicBezTo>
                    <a:cubicBezTo>
                      <a:pt x="148" y="1400"/>
                      <a:pt x="140" y="1388"/>
                      <a:pt x="136" y="1376"/>
                    </a:cubicBezTo>
                    <a:cubicBezTo>
                      <a:pt x="128" y="1356"/>
                      <a:pt x="132" y="1324"/>
                      <a:pt x="148" y="1324"/>
                    </a:cubicBezTo>
                    <a:cubicBezTo>
                      <a:pt x="172" y="1320"/>
                      <a:pt x="164" y="1364"/>
                      <a:pt x="172" y="1384"/>
                    </a:cubicBezTo>
                    <a:cubicBezTo>
                      <a:pt x="176" y="1388"/>
                      <a:pt x="180" y="1388"/>
                      <a:pt x="184" y="1388"/>
                    </a:cubicBezTo>
                    <a:cubicBezTo>
                      <a:pt x="180" y="1352"/>
                      <a:pt x="184" y="1312"/>
                      <a:pt x="176" y="1276"/>
                    </a:cubicBezTo>
                    <a:cubicBezTo>
                      <a:pt x="172" y="1252"/>
                      <a:pt x="152" y="1236"/>
                      <a:pt x="156" y="1208"/>
                    </a:cubicBezTo>
                    <a:cubicBezTo>
                      <a:pt x="180" y="1060"/>
                      <a:pt x="224" y="928"/>
                      <a:pt x="232" y="780"/>
                    </a:cubicBezTo>
                    <a:cubicBezTo>
                      <a:pt x="232" y="756"/>
                      <a:pt x="224" y="724"/>
                      <a:pt x="248" y="712"/>
                    </a:cubicBezTo>
                    <a:cubicBezTo>
                      <a:pt x="264" y="704"/>
                      <a:pt x="257" y="732"/>
                      <a:pt x="260" y="744"/>
                    </a:cubicBezTo>
                    <a:cubicBezTo>
                      <a:pt x="304" y="928"/>
                      <a:pt x="224" y="1092"/>
                      <a:pt x="208" y="1272"/>
                    </a:cubicBezTo>
                    <a:close/>
                    <a:moveTo>
                      <a:pt x="656" y="876"/>
                    </a:moveTo>
                    <a:cubicBezTo>
                      <a:pt x="656" y="888"/>
                      <a:pt x="641" y="882"/>
                      <a:pt x="632" y="876"/>
                    </a:cubicBezTo>
                    <a:cubicBezTo>
                      <a:pt x="620" y="868"/>
                      <a:pt x="620" y="852"/>
                      <a:pt x="624" y="844"/>
                    </a:cubicBezTo>
                    <a:cubicBezTo>
                      <a:pt x="632" y="824"/>
                      <a:pt x="624" y="800"/>
                      <a:pt x="616" y="780"/>
                    </a:cubicBezTo>
                    <a:cubicBezTo>
                      <a:pt x="608" y="764"/>
                      <a:pt x="608" y="744"/>
                      <a:pt x="624" y="728"/>
                    </a:cubicBezTo>
                    <a:cubicBezTo>
                      <a:pt x="628" y="728"/>
                      <a:pt x="632" y="728"/>
                      <a:pt x="636" y="728"/>
                    </a:cubicBezTo>
                    <a:cubicBezTo>
                      <a:pt x="664" y="776"/>
                      <a:pt x="660" y="828"/>
                      <a:pt x="656" y="876"/>
                    </a:cubicBezTo>
                    <a:close/>
                    <a:moveTo>
                      <a:pt x="728" y="1400"/>
                    </a:moveTo>
                    <a:cubicBezTo>
                      <a:pt x="724" y="1400"/>
                      <a:pt x="716" y="1392"/>
                      <a:pt x="720" y="1384"/>
                    </a:cubicBezTo>
                    <a:cubicBezTo>
                      <a:pt x="728" y="1364"/>
                      <a:pt x="716" y="1332"/>
                      <a:pt x="748" y="1332"/>
                    </a:cubicBezTo>
                    <a:cubicBezTo>
                      <a:pt x="752" y="1332"/>
                      <a:pt x="752" y="1341"/>
                      <a:pt x="756" y="1348"/>
                    </a:cubicBezTo>
                    <a:cubicBezTo>
                      <a:pt x="768" y="1372"/>
                      <a:pt x="756" y="1400"/>
                      <a:pt x="728" y="1400"/>
                    </a:cubicBezTo>
                    <a:close/>
                  </a:path>
                </a:pathLst>
              </a:custGeom>
              <a:solidFill>
                <a:schemeClr val="tx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7" name="AutoShape 22">
                <a:extLst>
                  <a:ext uri="{FF2B5EF4-FFF2-40B4-BE49-F238E27FC236}">
                    <a16:creationId xmlns:a16="http://schemas.microsoft.com/office/drawing/2014/main" id="{1939E765-55E7-4775-90FB-4E99527C561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642856" y="3820290"/>
                <a:ext cx="139656" cy="340512"/>
              </a:xfrm>
              <a:custGeom>
                <a:avLst/>
                <a:gdLst>
                  <a:gd name="T0" fmla="*/ 808464432 w 680"/>
                  <a:gd name="T1" fmla="*/ 813928491 h 2335"/>
                  <a:gd name="T2" fmla="*/ 808464432 w 680"/>
                  <a:gd name="T3" fmla="*/ 813928491 h 2335"/>
                  <a:gd name="T4" fmla="*/ 808464432 w 680"/>
                  <a:gd name="T5" fmla="*/ 813928491 h 2335"/>
                  <a:gd name="T6" fmla="*/ 808464432 w 680"/>
                  <a:gd name="T7" fmla="*/ 813928491 h 2335"/>
                  <a:gd name="T8" fmla="*/ 808464432 w 680"/>
                  <a:gd name="T9" fmla="*/ 813928491 h 2335"/>
                  <a:gd name="T10" fmla="*/ 808464432 w 680"/>
                  <a:gd name="T11" fmla="*/ 813928491 h 2335"/>
                  <a:gd name="T12" fmla="*/ 808464432 w 680"/>
                  <a:gd name="T13" fmla="*/ 813928491 h 2335"/>
                  <a:gd name="T14" fmla="*/ 808464432 w 680"/>
                  <a:gd name="T15" fmla="*/ 813928491 h 2335"/>
                  <a:gd name="T16" fmla="*/ 808464432 w 680"/>
                  <a:gd name="T17" fmla="*/ 813928491 h 2335"/>
                  <a:gd name="T18" fmla="*/ 808464432 w 680"/>
                  <a:gd name="T19" fmla="*/ 813928491 h 2335"/>
                  <a:gd name="T20" fmla="*/ 808464432 w 680"/>
                  <a:gd name="T21" fmla="*/ 813928491 h 2335"/>
                  <a:gd name="T22" fmla="*/ 808464432 w 680"/>
                  <a:gd name="T23" fmla="*/ 813928491 h 2335"/>
                  <a:gd name="T24" fmla="*/ 808464432 w 680"/>
                  <a:gd name="T25" fmla="*/ 813928491 h 2335"/>
                  <a:gd name="T26" fmla="*/ 808464432 w 680"/>
                  <a:gd name="T27" fmla="*/ 813928491 h 2335"/>
                  <a:gd name="T28" fmla="*/ 808464432 w 680"/>
                  <a:gd name="T29" fmla="*/ 813928491 h 2335"/>
                  <a:gd name="T30" fmla="*/ 808464432 w 680"/>
                  <a:gd name="T31" fmla="*/ 813928491 h 2335"/>
                  <a:gd name="T32" fmla="*/ 808464432 w 680"/>
                  <a:gd name="T33" fmla="*/ 813928491 h 2335"/>
                  <a:gd name="T34" fmla="*/ 808464432 w 680"/>
                  <a:gd name="T35" fmla="*/ 813928491 h 2335"/>
                  <a:gd name="T36" fmla="*/ 808464432 w 680"/>
                  <a:gd name="T37" fmla="*/ 813928491 h 2335"/>
                  <a:gd name="T38" fmla="*/ 808464432 w 680"/>
                  <a:gd name="T39" fmla="*/ 813928491 h 2335"/>
                  <a:gd name="T40" fmla="*/ 808464432 w 680"/>
                  <a:gd name="T41" fmla="*/ 813928491 h 2335"/>
                  <a:gd name="T42" fmla="*/ 808464432 w 680"/>
                  <a:gd name="T43" fmla="*/ 813928491 h 2335"/>
                  <a:gd name="T44" fmla="*/ 808464432 w 680"/>
                  <a:gd name="T45" fmla="*/ 813928491 h 2335"/>
                  <a:gd name="T46" fmla="*/ 808464432 w 680"/>
                  <a:gd name="T47" fmla="*/ 813928491 h 2335"/>
                  <a:gd name="T48" fmla="*/ 808464432 w 680"/>
                  <a:gd name="T49" fmla="*/ 813928491 h 2335"/>
                  <a:gd name="T50" fmla="*/ 808464432 w 680"/>
                  <a:gd name="T51" fmla="*/ 813928491 h 2335"/>
                  <a:gd name="T52" fmla="*/ 808464432 w 680"/>
                  <a:gd name="T53" fmla="*/ 813928491 h 2335"/>
                  <a:gd name="T54" fmla="*/ 808464432 w 680"/>
                  <a:gd name="T55" fmla="*/ 813928491 h 2335"/>
                  <a:gd name="T56" fmla="*/ 808464432 w 680"/>
                  <a:gd name="T57" fmla="*/ 813928491 h 2335"/>
                  <a:gd name="T58" fmla="*/ 808464432 w 680"/>
                  <a:gd name="T59" fmla="*/ 813928491 h 2335"/>
                  <a:gd name="T60" fmla="*/ 808464432 w 680"/>
                  <a:gd name="T61" fmla="*/ 813928491 h 2335"/>
                  <a:gd name="T62" fmla="*/ 808464432 w 680"/>
                  <a:gd name="T63" fmla="*/ 813928491 h 2335"/>
                  <a:gd name="T64" fmla="*/ 808464432 w 680"/>
                  <a:gd name="T65" fmla="*/ 813928491 h 2335"/>
                  <a:gd name="T66" fmla="*/ 808464432 w 680"/>
                  <a:gd name="T67" fmla="*/ 813928491 h 2335"/>
                  <a:gd name="T68" fmla="*/ 808464432 w 680"/>
                  <a:gd name="T69" fmla="*/ 813928491 h 2335"/>
                  <a:gd name="T70" fmla="*/ 808464432 w 680"/>
                  <a:gd name="T71" fmla="*/ 813928491 h 2335"/>
                  <a:gd name="T72" fmla="*/ 808464432 w 680"/>
                  <a:gd name="T73" fmla="*/ 813928491 h 2335"/>
                  <a:gd name="T74" fmla="*/ 808464432 w 680"/>
                  <a:gd name="T75" fmla="*/ 813928491 h 2335"/>
                  <a:gd name="T76" fmla="*/ 808464432 w 680"/>
                  <a:gd name="T77" fmla="*/ 813928491 h 2335"/>
                  <a:gd name="T78" fmla="*/ 808464432 w 680"/>
                  <a:gd name="T79" fmla="*/ 813928491 h 2335"/>
                  <a:gd name="T80" fmla="*/ 808464432 w 680"/>
                  <a:gd name="T81" fmla="*/ 813928491 h 2335"/>
                  <a:gd name="T82" fmla="*/ 808464432 w 680"/>
                  <a:gd name="T83" fmla="*/ 813928491 h 2335"/>
                  <a:gd name="T84" fmla="*/ 808464432 w 680"/>
                  <a:gd name="T85" fmla="*/ 813928491 h 2335"/>
                  <a:gd name="T86" fmla="*/ 808464432 w 680"/>
                  <a:gd name="T87" fmla="*/ 813928491 h 2335"/>
                  <a:gd name="T88" fmla="*/ 808464432 w 680"/>
                  <a:gd name="T89" fmla="*/ 813928491 h 2335"/>
                  <a:gd name="T90" fmla="*/ 808464432 w 680"/>
                  <a:gd name="T91" fmla="*/ 813928491 h 2335"/>
                  <a:gd name="T92" fmla="*/ 808464432 w 680"/>
                  <a:gd name="T93" fmla="*/ 813928491 h 2335"/>
                  <a:gd name="T94" fmla="*/ 808464432 w 680"/>
                  <a:gd name="T95" fmla="*/ 813928491 h 2335"/>
                  <a:gd name="T96" fmla="*/ 808464432 w 680"/>
                  <a:gd name="T97" fmla="*/ 813928491 h 2335"/>
                  <a:gd name="T98" fmla="*/ 808464432 w 680"/>
                  <a:gd name="T99" fmla="*/ 813928491 h 2335"/>
                  <a:gd name="T100" fmla="*/ 808464432 w 680"/>
                  <a:gd name="T101" fmla="*/ 813928491 h 2335"/>
                  <a:gd name="T102" fmla="*/ 808464432 w 680"/>
                  <a:gd name="T103" fmla="*/ 813928491 h 2335"/>
                  <a:gd name="T104" fmla="*/ 808464432 w 680"/>
                  <a:gd name="T105" fmla="*/ 813928491 h 2335"/>
                  <a:gd name="T106" fmla="*/ 808464432 w 680"/>
                  <a:gd name="T107" fmla="*/ 813928491 h 2335"/>
                  <a:gd name="T108" fmla="*/ 808464432 w 680"/>
                  <a:gd name="T109" fmla="*/ 813928491 h 2335"/>
                  <a:gd name="T110" fmla="*/ 808464432 w 680"/>
                  <a:gd name="T111" fmla="*/ 813928491 h 2335"/>
                  <a:gd name="T112" fmla="*/ 808464432 w 680"/>
                  <a:gd name="T113" fmla="*/ 813928491 h 2335"/>
                  <a:gd name="T114" fmla="*/ 808464432 w 680"/>
                  <a:gd name="T115" fmla="*/ 813928491 h 2335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80"/>
                  <a:gd name="T175" fmla="*/ 0 h 2335"/>
                  <a:gd name="T176" fmla="*/ 680 w 680"/>
                  <a:gd name="T177" fmla="*/ 2335 h 2335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80" h="2335">
                    <a:moveTo>
                      <a:pt x="676" y="998"/>
                    </a:moveTo>
                    <a:cubicBezTo>
                      <a:pt x="670" y="976"/>
                      <a:pt x="677" y="952"/>
                      <a:pt x="674" y="929"/>
                    </a:cubicBezTo>
                    <a:cubicBezTo>
                      <a:pt x="673" y="919"/>
                      <a:pt x="670" y="909"/>
                      <a:pt x="668" y="898"/>
                    </a:cubicBezTo>
                    <a:cubicBezTo>
                      <a:pt x="666" y="885"/>
                      <a:pt x="667" y="872"/>
                      <a:pt x="667" y="859"/>
                    </a:cubicBezTo>
                    <a:cubicBezTo>
                      <a:pt x="666" y="834"/>
                      <a:pt x="662" y="810"/>
                      <a:pt x="662" y="785"/>
                    </a:cubicBezTo>
                    <a:cubicBezTo>
                      <a:pt x="663" y="759"/>
                      <a:pt x="664" y="732"/>
                      <a:pt x="662" y="706"/>
                    </a:cubicBezTo>
                    <a:cubicBezTo>
                      <a:pt x="657" y="647"/>
                      <a:pt x="645" y="590"/>
                      <a:pt x="632" y="533"/>
                    </a:cubicBezTo>
                    <a:cubicBezTo>
                      <a:pt x="628" y="513"/>
                      <a:pt x="623" y="492"/>
                      <a:pt x="618" y="472"/>
                    </a:cubicBezTo>
                    <a:cubicBezTo>
                      <a:pt x="613" y="453"/>
                      <a:pt x="607" y="436"/>
                      <a:pt x="592" y="423"/>
                    </a:cubicBezTo>
                    <a:cubicBezTo>
                      <a:pt x="572" y="405"/>
                      <a:pt x="547" y="403"/>
                      <a:pt x="524" y="392"/>
                    </a:cubicBezTo>
                    <a:cubicBezTo>
                      <a:pt x="506" y="384"/>
                      <a:pt x="489" y="373"/>
                      <a:pt x="471" y="364"/>
                    </a:cubicBezTo>
                    <a:cubicBezTo>
                      <a:pt x="463" y="361"/>
                      <a:pt x="455" y="357"/>
                      <a:pt x="449" y="351"/>
                    </a:cubicBezTo>
                    <a:cubicBezTo>
                      <a:pt x="443" y="344"/>
                      <a:pt x="438" y="342"/>
                      <a:pt x="430" y="339"/>
                    </a:cubicBezTo>
                    <a:cubicBezTo>
                      <a:pt x="420" y="336"/>
                      <a:pt x="415" y="332"/>
                      <a:pt x="415" y="323"/>
                    </a:cubicBezTo>
                    <a:cubicBezTo>
                      <a:pt x="415" y="314"/>
                      <a:pt x="415" y="304"/>
                      <a:pt x="414" y="294"/>
                    </a:cubicBezTo>
                    <a:cubicBezTo>
                      <a:pt x="413" y="285"/>
                      <a:pt x="412" y="279"/>
                      <a:pt x="419" y="272"/>
                    </a:cubicBezTo>
                    <a:cubicBezTo>
                      <a:pt x="426" y="263"/>
                      <a:pt x="428" y="252"/>
                      <a:pt x="429" y="241"/>
                    </a:cubicBezTo>
                    <a:cubicBezTo>
                      <a:pt x="430" y="234"/>
                      <a:pt x="431" y="227"/>
                      <a:pt x="431" y="220"/>
                    </a:cubicBezTo>
                    <a:cubicBezTo>
                      <a:pt x="431" y="214"/>
                      <a:pt x="431" y="215"/>
                      <a:pt x="436" y="216"/>
                    </a:cubicBezTo>
                    <a:cubicBezTo>
                      <a:pt x="450" y="219"/>
                      <a:pt x="451" y="211"/>
                      <a:pt x="456" y="200"/>
                    </a:cubicBezTo>
                    <a:cubicBezTo>
                      <a:pt x="461" y="190"/>
                      <a:pt x="474" y="134"/>
                      <a:pt x="449" y="140"/>
                    </a:cubicBezTo>
                    <a:cubicBezTo>
                      <a:pt x="446" y="141"/>
                      <a:pt x="449" y="130"/>
                      <a:pt x="449" y="128"/>
                    </a:cubicBezTo>
                    <a:cubicBezTo>
                      <a:pt x="450" y="121"/>
                      <a:pt x="453" y="114"/>
                      <a:pt x="451" y="106"/>
                    </a:cubicBezTo>
                    <a:cubicBezTo>
                      <a:pt x="448" y="95"/>
                      <a:pt x="452" y="86"/>
                      <a:pt x="450" y="76"/>
                    </a:cubicBezTo>
                    <a:cubicBezTo>
                      <a:pt x="449" y="66"/>
                      <a:pt x="442" y="57"/>
                      <a:pt x="438" y="48"/>
                    </a:cubicBezTo>
                    <a:cubicBezTo>
                      <a:pt x="435" y="43"/>
                      <a:pt x="435" y="38"/>
                      <a:pt x="429" y="35"/>
                    </a:cubicBezTo>
                    <a:cubicBezTo>
                      <a:pt x="423" y="32"/>
                      <a:pt x="421" y="28"/>
                      <a:pt x="416" y="24"/>
                    </a:cubicBezTo>
                    <a:cubicBezTo>
                      <a:pt x="408" y="17"/>
                      <a:pt x="397" y="5"/>
                      <a:pt x="386" y="7"/>
                    </a:cubicBezTo>
                    <a:cubicBezTo>
                      <a:pt x="381" y="9"/>
                      <a:pt x="376" y="5"/>
                      <a:pt x="371" y="3"/>
                    </a:cubicBezTo>
                    <a:cubicBezTo>
                      <a:pt x="369" y="3"/>
                      <a:pt x="366" y="3"/>
                      <a:pt x="364" y="3"/>
                    </a:cubicBezTo>
                    <a:cubicBezTo>
                      <a:pt x="360" y="3"/>
                      <a:pt x="356" y="0"/>
                      <a:pt x="352" y="0"/>
                    </a:cubicBezTo>
                    <a:cubicBezTo>
                      <a:pt x="346" y="0"/>
                      <a:pt x="338" y="1"/>
                      <a:pt x="332" y="1"/>
                    </a:cubicBezTo>
                    <a:cubicBezTo>
                      <a:pt x="330" y="2"/>
                      <a:pt x="328" y="4"/>
                      <a:pt x="325" y="4"/>
                    </a:cubicBezTo>
                    <a:cubicBezTo>
                      <a:pt x="322" y="5"/>
                      <a:pt x="320" y="3"/>
                      <a:pt x="316" y="3"/>
                    </a:cubicBezTo>
                    <a:cubicBezTo>
                      <a:pt x="311" y="3"/>
                      <a:pt x="307" y="9"/>
                      <a:pt x="301" y="10"/>
                    </a:cubicBezTo>
                    <a:cubicBezTo>
                      <a:pt x="299" y="11"/>
                      <a:pt x="297" y="13"/>
                      <a:pt x="295" y="14"/>
                    </a:cubicBezTo>
                    <a:cubicBezTo>
                      <a:pt x="292" y="15"/>
                      <a:pt x="288" y="16"/>
                      <a:pt x="285" y="17"/>
                    </a:cubicBezTo>
                    <a:cubicBezTo>
                      <a:pt x="280" y="20"/>
                      <a:pt x="276" y="22"/>
                      <a:pt x="272" y="25"/>
                    </a:cubicBezTo>
                    <a:cubicBezTo>
                      <a:pt x="269" y="27"/>
                      <a:pt x="268" y="30"/>
                      <a:pt x="266" y="32"/>
                    </a:cubicBezTo>
                    <a:cubicBezTo>
                      <a:pt x="262" y="35"/>
                      <a:pt x="257" y="39"/>
                      <a:pt x="254" y="44"/>
                    </a:cubicBezTo>
                    <a:cubicBezTo>
                      <a:pt x="253" y="47"/>
                      <a:pt x="253" y="50"/>
                      <a:pt x="251" y="53"/>
                    </a:cubicBezTo>
                    <a:cubicBezTo>
                      <a:pt x="250" y="56"/>
                      <a:pt x="247" y="57"/>
                      <a:pt x="245" y="61"/>
                    </a:cubicBezTo>
                    <a:cubicBezTo>
                      <a:pt x="242" y="69"/>
                      <a:pt x="237" y="87"/>
                      <a:pt x="241" y="95"/>
                    </a:cubicBezTo>
                    <a:cubicBezTo>
                      <a:pt x="245" y="104"/>
                      <a:pt x="240" y="115"/>
                      <a:pt x="244" y="124"/>
                    </a:cubicBezTo>
                    <a:cubicBezTo>
                      <a:pt x="245" y="129"/>
                      <a:pt x="239" y="126"/>
                      <a:pt x="236" y="127"/>
                    </a:cubicBezTo>
                    <a:cubicBezTo>
                      <a:pt x="231" y="130"/>
                      <a:pt x="231" y="138"/>
                      <a:pt x="230" y="142"/>
                    </a:cubicBezTo>
                    <a:cubicBezTo>
                      <a:pt x="228" y="155"/>
                      <a:pt x="226" y="170"/>
                      <a:pt x="229" y="183"/>
                    </a:cubicBezTo>
                    <a:cubicBezTo>
                      <a:pt x="233" y="194"/>
                      <a:pt x="238" y="203"/>
                      <a:pt x="250" y="204"/>
                    </a:cubicBezTo>
                    <a:cubicBezTo>
                      <a:pt x="254" y="204"/>
                      <a:pt x="256" y="203"/>
                      <a:pt x="257" y="207"/>
                    </a:cubicBezTo>
                    <a:cubicBezTo>
                      <a:pt x="258" y="212"/>
                      <a:pt x="257" y="219"/>
                      <a:pt x="257" y="224"/>
                    </a:cubicBezTo>
                    <a:cubicBezTo>
                      <a:pt x="257" y="235"/>
                      <a:pt x="258" y="245"/>
                      <a:pt x="263" y="254"/>
                    </a:cubicBezTo>
                    <a:cubicBezTo>
                      <a:pt x="266" y="259"/>
                      <a:pt x="269" y="263"/>
                      <a:pt x="269" y="269"/>
                    </a:cubicBezTo>
                    <a:cubicBezTo>
                      <a:pt x="268" y="274"/>
                      <a:pt x="268" y="278"/>
                      <a:pt x="268" y="283"/>
                    </a:cubicBezTo>
                    <a:cubicBezTo>
                      <a:pt x="268" y="293"/>
                      <a:pt x="268" y="304"/>
                      <a:pt x="268" y="314"/>
                    </a:cubicBezTo>
                    <a:cubicBezTo>
                      <a:pt x="268" y="323"/>
                      <a:pt x="270" y="334"/>
                      <a:pt x="261" y="340"/>
                    </a:cubicBezTo>
                    <a:cubicBezTo>
                      <a:pt x="257" y="343"/>
                      <a:pt x="252" y="346"/>
                      <a:pt x="246" y="348"/>
                    </a:cubicBezTo>
                    <a:cubicBezTo>
                      <a:pt x="242" y="350"/>
                      <a:pt x="238" y="350"/>
                      <a:pt x="234" y="352"/>
                    </a:cubicBezTo>
                    <a:cubicBezTo>
                      <a:pt x="223" y="359"/>
                      <a:pt x="216" y="369"/>
                      <a:pt x="204" y="374"/>
                    </a:cubicBezTo>
                    <a:cubicBezTo>
                      <a:pt x="188" y="382"/>
                      <a:pt x="173" y="392"/>
                      <a:pt x="157" y="400"/>
                    </a:cubicBezTo>
                    <a:cubicBezTo>
                      <a:pt x="138" y="412"/>
                      <a:pt x="115" y="413"/>
                      <a:pt x="96" y="426"/>
                    </a:cubicBezTo>
                    <a:cubicBezTo>
                      <a:pt x="76" y="439"/>
                      <a:pt x="66" y="460"/>
                      <a:pt x="61" y="482"/>
                    </a:cubicBezTo>
                    <a:cubicBezTo>
                      <a:pt x="57" y="497"/>
                      <a:pt x="53" y="511"/>
                      <a:pt x="50" y="526"/>
                    </a:cubicBezTo>
                    <a:cubicBezTo>
                      <a:pt x="44" y="565"/>
                      <a:pt x="38" y="605"/>
                      <a:pt x="33" y="644"/>
                    </a:cubicBezTo>
                    <a:cubicBezTo>
                      <a:pt x="28" y="681"/>
                      <a:pt x="25" y="719"/>
                      <a:pt x="21" y="757"/>
                    </a:cubicBezTo>
                    <a:cubicBezTo>
                      <a:pt x="19" y="777"/>
                      <a:pt x="18" y="797"/>
                      <a:pt x="16" y="817"/>
                    </a:cubicBezTo>
                    <a:cubicBezTo>
                      <a:pt x="14" y="842"/>
                      <a:pt x="9" y="868"/>
                      <a:pt x="7" y="893"/>
                    </a:cubicBezTo>
                    <a:cubicBezTo>
                      <a:pt x="4" y="916"/>
                      <a:pt x="6" y="939"/>
                      <a:pt x="5" y="962"/>
                    </a:cubicBezTo>
                    <a:cubicBezTo>
                      <a:pt x="5" y="972"/>
                      <a:pt x="4" y="982"/>
                      <a:pt x="4" y="992"/>
                    </a:cubicBezTo>
                    <a:cubicBezTo>
                      <a:pt x="4" y="997"/>
                      <a:pt x="5" y="1002"/>
                      <a:pt x="4" y="1007"/>
                    </a:cubicBezTo>
                    <a:cubicBezTo>
                      <a:pt x="4" y="1016"/>
                      <a:pt x="2" y="1024"/>
                      <a:pt x="3" y="1032"/>
                    </a:cubicBezTo>
                    <a:cubicBezTo>
                      <a:pt x="3" y="1041"/>
                      <a:pt x="9" y="1051"/>
                      <a:pt x="7" y="1059"/>
                    </a:cubicBezTo>
                    <a:cubicBezTo>
                      <a:pt x="4" y="1069"/>
                      <a:pt x="8" y="1083"/>
                      <a:pt x="10" y="1094"/>
                    </a:cubicBezTo>
                    <a:cubicBezTo>
                      <a:pt x="12" y="1105"/>
                      <a:pt x="17" y="1115"/>
                      <a:pt x="8" y="1125"/>
                    </a:cubicBezTo>
                    <a:cubicBezTo>
                      <a:pt x="4" y="1129"/>
                      <a:pt x="3" y="1134"/>
                      <a:pt x="3" y="1140"/>
                    </a:cubicBezTo>
                    <a:cubicBezTo>
                      <a:pt x="3" y="1143"/>
                      <a:pt x="3" y="1146"/>
                      <a:pt x="3" y="1150"/>
                    </a:cubicBezTo>
                    <a:cubicBezTo>
                      <a:pt x="4" y="1153"/>
                      <a:pt x="8" y="1158"/>
                      <a:pt x="7" y="1161"/>
                    </a:cubicBezTo>
                    <a:cubicBezTo>
                      <a:pt x="5" y="1167"/>
                      <a:pt x="0" y="1172"/>
                      <a:pt x="4" y="1179"/>
                    </a:cubicBezTo>
                    <a:cubicBezTo>
                      <a:pt x="8" y="1185"/>
                      <a:pt x="14" y="1183"/>
                      <a:pt x="19" y="1186"/>
                    </a:cubicBezTo>
                    <a:cubicBezTo>
                      <a:pt x="22" y="1188"/>
                      <a:pt x="15" y="1195"/>
                      <a:pt x="14" y="1198"/>
                    </a:cubicBezTo>
                    <a:cubicBezTo>
                      <a:pt x="13" y="1204"/>
                      <a:pt x="14" y="1210"/>
                      <a:pt x="15" y="1215"/>
                    </a:cubicBezTo>
                    <a:cubicBezTo>
                      <a:pt x="16" y="1220"/>
                      <a:pt x="12" y="1220"/>
                      <a:pt x="12" y="1223"/>
                    </a:cubicBezTo>
                    <a:cubicBezTo>
                      <a:pt x="13" y="1227"/>
                      <a:pt x="16" y="1229"/>
                      <a:pt x="16" y="1233"/>
                    </a:cubicBezTo>
                    <a:cubicBezTo>
                      <a:pt x="17" y="1245"/>
                      <a:pt x="16" y="1256"/>
                      <a:pt x="14" y="1267"/>
                    </a:cubicBezTo>
                    <a:cubicBezTo>
                      <a:pt x="13" y="1275"/>
                      <a:pt x="20" y="1284"/>
                      <a:pt x="22" y="1291"/>
                    </a:cubicBezTo>
                    <a:cubicBezTo>
                      <a:pt x="26" y="1302"/>
                      <a:pt x="29" y="1313"/>
                      <a:pt x="34" y="1324"/>
                    </a:cubicBezTo>
                    <a:cubicBezTo>
                      <a:pt x="41" y="1343"/>
                      <a:pt x="57" y="1349"/>
                      <a:pt x="76" y="1355"/>
                    </a:cubicBezTo>
                    <a:cubicBezTo>
                      <a:pt x="80" y="1356"/>
                      <a:pt x="88" y="1359"/>
                      <a:pt x="92" y="1358"/>
                    </a:cubicBezTo>
                    <a:cubicBezTo>
                      <a:pt x="96" y="1357"/>
                      <a:pt x="98" y="1357"/>
                      <a:pt x="102" y="1358"/>
                    </a:cubicBezTo>
                    <a:cubicBezTo>
                      <a:pt x="109" y="1359"/>
                      <a:pt x="107" y="1373"/>
                      <a:pt x="108" y="1379"/>
                    </a:cubicBezTo>
                    <a:cubicBezTo>
                      <a:pt x="111" y="1404"/>
                      <a:pt x="115" y="1429"/>
                      <a:pt x="120" y="1453"/>
                    </a:cubicBezTo>
                    <a:cubicBezTo>
                      <a:pt x="124" y="1473"/>
                      <a:pt x="131" y="1492"/>
                      <a:pt x="135" y="1512"/>
                    </a:cubicBezTo>
                    <a:cubicBezTo>
                      <a:pt x="138" y="1532"/>
                      <a:pt x="139" y="1553"/>
                      <a:pt x="140" y="1573"/>
                    </a:cubicBezTo>
                    <a:cubicBezTo>
                      <a:pt x="143" y="1647"/>
                      <a:pt x="140" y="1720"/>
                      <a:pt x="145" y="1793"/>
                    </a:cubicBezTo>
                    <a:cubicBezTo>
                      <a:pt x="150" y="1860"/>
                      <a:pt x="153" y="1926"/>
                      <a:pt x="157" y="1992"/>
                    </a:cubicBezTo>
                    <a:cubicBezTo>
                      <a:pt x="158" y="2011"/>
                      <a:pt x="159" y="2029"/>
                      <a:pt x="159" y="2048"/>
                    </a:cubicBezTo>
                    <a:cubicBezTo>
                      <a:pt x="159" y="2053"/>
                      <a:pt x="160" y="2057"/>
                      <a:pt x="160" y="2062"/>
                    </a:cubicBezTo>
                    <a:cubicBezTo>
                      <a:pt x="160" y="2077"/>
                      <a:pt x="164" y="2090"/>
                      <a:pt x="167" y="2105"/>
                    </a:cubicBezTo>
                    <a:cubicBezTo>
                      <a:pt x="170" y="2114"/>
                      <a:pt x="165" y="2124"/>
                      <a:pt x="169" y="2133"/>
                    </a:cubicBezTo>
                    <a:cubicBezTo>
                      <a:pt x="171" y="2138"/>
                      <a:pt x="173" y="2140"/>
                      <a:pt x="173" y="2144"/>
                    </a:cubicBezTo>
                    <a:cubicBezTo>
                      <a:pt x="175" y="2162"/>
                      <a:pt x="176" y="2179"/>
                      <a:pt x="179" y="2196"/>
                    </a:cubicBezTo>
                    <a:cubicBezTo>
                      <a:pt x="180" y="2202"/>
                      <a:pt x="180" y="2210"/>
                      <a:pt x="184" y="2216"/>
                    </a:cubicBezTo>
                    <a:cubicBezTo>
                      <a:pt x="187" y="2221"/>
                      <a:pt x="192" y="2216"/>
                      <a:pt x="196" y="2217"/>
                    </a:cubicBezTo>
                    <a:cubicBezTo>
                      <a:pt x="205" y="2218"/>
                      <a:pt x="183" y="2238"/>
                      <a:pt x="183" y="2239"/>
                    </a:cubicBezTo>
                    <a:cubicBezTo>
                      <a:pt x="172" y="2249"/>
                      <a:pt x="165" y="2261"/>
                      <a:pt x="151" y="2268"/>
                    </a:cubicBezTo>
                    <a:cubicBezTo>
                      <a:pt x="142" y="2273"/>
                      <a:pt x="128" y="2275"/>
                      <a:pt x="124" y="2287"/>
                    </a:cubicBezTo>
                    <a:cubicBezTo>
                      <a:pt x="123" y="2291"/>
                      <a:pt x="125" y="2298"/>
                      <a:pt x="120" y="2301"/>
                    </a:cubicBezTo>
                    <a:cubicBezTo>
                      <a:pt x="117" y="2303"/>
                      <a:pt x="111" y="2303"/>
                      <a:pt x="111" y="2308"/>
                    </a:cubicBezTo>
                    <a:cubicBezTo>
                      <a:pt x="112" y="2315"/>
                      <a:pt x="117" y="2315"/>
                      <a:pt x="122" y="2316"/>
                    </a:cubicBezTo>
                    <a:cubicBezTo>
                      <a:pt x="128" y="2316"/>
                      <a:pt x="133" y="2318"/>
                      <a:pt x="138" y="2320"/>
                    </a:cubicBezTo>
                    <a:cubicBezTo>
                      <a:pt x="157" y="2323"/>
                      <a:pt x="177" y="2323"/>
                      <a:pt x="197" y="2323"/>
                    </a:cubicBezTo>
                    <a:cubicBezTo>
                      <a:pt x="215" y="2323"/>
                      <a:pt x="233" y="2322"/>
                      <a:pt x="251" y="2320"/>
                    </a:cubicBezTo>
                    <a:cubicBezTo>
                      <a:pt x="260" y="2320"/>
                      <a:pt x="271" y="2320"/>
                      <a:pt x="273" y="2309"/>
                    </a:cubicBezTo>
                    <a:cubicBezTo>
                      <a:pt x="275" y="2299"/>
                      <a:pt x="277" y="2294"/>
                      <a:pt x="287" y="2298"/>
                    </a:cubicBezTo>
                    <a:cubicBezTo>
                      <a:pt x="298" y="2302"/>
                      <a:pt x="305" y="2301"/>
                      <a:pt x="316" y="2298"/>
                    </a:cubicBezTo>
                    <a:cubicBezTo>
                      <a:pt x="323" y="2295"/>
                      <a:pt x="344" y="2293"/>
                      <a:pt x="343" y="2282"/>
                    </a:cubicBezTo>
                    <a:cubicBezTo>
                      <a:pt x="342" y="2275"/>
                      <a:pt x="342" y="2268"/>
                      <a:pt x="342" y="2262"/>
                    </a:cubicBezTo>
                    <a:cubicBezTo>
                      <a:pt x="342" y="2257"/>
                      <a:pt x="343" y="2250"/>
                      <a:pt x="341" y="2246"/>
                    </a:cubicBezTo>
                    <a:cubicBezTo>
                      <a:pt x="339" y="2243"/>
                      <a:pt x="335" y="2244"/>
                      <a:pt x="334" y="2243"/>
                    </a:cubicBezTo>
                    <a:cubicBezTo>
                      <a:pt x="332" y="2239"/>
                      <a:pt x="334" y="2230"/>
                      <a:pt x="334" y="2225"/>
                    </a:cubicBezTo>
                    <a:cubicBezTo>
                      <a:pt x="334" y="2221"/>
                      <a:pt x="334" y="2215"/>
                      <a:pt x="332" y="2211"/>
                    </a:cubicBezTo>
                    <a:cubicBezTo>
                      <a:pt x="330" y="2207"/>
                      <a:pt x="333" y="2204"/>
                      <a:pt x="335" y="2199"/>
                    </a:cubicBezTo>
                    <a:cubicBezTo>
                      <a:pt x="337" y="2194"/>
                      <a:pt x="335" y="2188"/>
                      <a:pt x="334" y="2183"/>
                    </a:cubicBezTo>
                    <a:cubicBezTo>
                      <a:pt x="333" y="2175"/>
                      <a:pt x="334" y="2167"/>
                      <a:pt x="333" y="2159"/>
                    </a:cubicBezTo>
                    <a:cubicBezTo>
                      <a:pt x="332" y="2142"/>
                      <a:pt x="331" y="2124"/>
                      <a:pt x="330" y="2106"/>
                    </a:cubicBezTo>
                    <a:cubicBezTo>
                      <a:pt x="328" y="2086"/>
                      <a:pt x="326" y="2067"/>
                      <a:pt x="324" y="2047"/>
                    </a:cubicBezTo>
                    <a:cubicBezTo>
                      <a:pt x="321" y="2027"/>
                      <a:pt x="323" y="2006"/>
                      <a:pt x="323" y="1985"/>
                    </a:cubicBezTo>
                    <a:cubicBezTo>
                      <a:pt x="322" y="1966"/>
                      <a:pt x="321" y="1947"/>
                      <a:pt x="319" y="1928"/>
                    </a:cubicBezTo>
                    <a:cubicBezTo>
                      <a:pt x="317" y="1902"/>
                      <a:pt x="318" y="1877"/>
                      <a:pt x="316" y="1852"/>
                    </a:cubicBezTo>
                    <a:cubicBezTo>
                      <a:pt x="313" y="1824"/>
                      <a:pt x="309" y="1796"/>
                      <a:pt x="298" y="1770"/>
                    </a:cubicBezTo>
                    <a:cubicBezTo>
                      <a:pt x="294" y="1759"/>
                      <a:pt x="290" y="1752"/>
                      <a:pt x="289" y="1740"/>
                    </a:cubicBezTo>
                    <a:cubicBezTo>
                      <a:pt x="288" y="1729"/>
                      <a:pt x="290" y="1718"/>
                      <a:pt x="289" y="1706"/>
                    </a:cubicBezTo>
                    <a:cubicBezTo>
                      <a:pt x="287" y="1683"/>
                      <a:pt x="283" y="1661"/>
                      <a:pt x="286" y="1638"/>
                    </a:cubicBezTo>
                    <a:cubicBezTo>
                      <a:pt x="289" y="1609"/>
                      <a:pt x="292" y="1580"/>
                      <a:pt x="296" y="1552"/>
                    </a:cubicBezTo>
                    <a:cubicBezTo>
                      <a:pt x="302" y="1520"/>
                      <a:pt x="305" y="1488"/>
                      <a:pt x="309" y="1456"/>
                    </a:cubicBezTo>
                    <a:cubicBezTo>
                      <a:pt x="312" y="1435"/>
                      <a:pt x="315" y="1415"/>
                      <a:pt x="319" y="1394"/>
                    </a:cubicBezTo>
                    <a:cubicBezTo>
                      <a:pt x="320" y="1384"/>
                      <a:pt x="318" y="1375"/>
                      <a:pt x="319" y="1365"/>
                    </a:cubicBezTo>
                    <a:cubicBezTo>
                      <a:pt x="320" y="1355"/>
                      <a:pt x="323" y="1345"/>
                      <a:pt x="322" y="1335"/>
                    </a:cubicBezTo>
                    <a:cubicBezTo>
                      <a:pt x="322" y="1326"/>
                      <a:pt x="322" y="1318"/>
                      <a:pt x="325" y="1309"/>
                    </a:cubicBezTo>
                    <a:cubicBezTo>
                      <a:pt x="327" y="1304"/>
                      <a:pt x="329" y="1292"/>
                      <a:pt x="332" y="1289"/>
                    </a:cubicBezTo>
                    <a:cubicBezTo>
                      <a:pt x="332" y="1290"/>
                      <a:pt x="336" y="1293"/>
                      <a:pt x="337" y="1293"/>
                    </a:cubicBezTo>
                    <a:cubicBezTo>
                      <a:pt x="341" y="1295"/>
                      <a:pt x="343" y="1295"/>
                      <a:pt x="344" y="1300"/>
                    </a:cubicBezTo>
                    <a:cubicBezTo>
                      <a:pt x="347" y="1311"/>
                      <a:pt x="349" y="1323"/>
                      <a:pt x="352" y="1334"/>
                    </a:cubicBezTo>
                    <a:cubicBezTo>
                      <a:pt x="357" y="1354"/>
                      <a:pt x="359" y="1375"/>
                      <a:pt x="361" y="1396"/>
                    </a:cubicBezTo>
                    <a:cubicBezTo>
                      <a:pt x="365" y="1433"/>
                      <a:pt x="372" y="1470"/>
                      <a:pt x="376" y="1507"/>
                    </a:cubicBezTo>
                    <a:cubicBezTo>
                      <a:pt x="378" y="1526"/>
                      <a:pt x="381" y="1544"/>
                      <a:pt x="384" y="1561"/>
                    </a:cubicBezTo>
                    <a:cubicBezTo>
                      <a:pt x="388" y="1578"/>
                      <a:pt x="390" y="1597"/>
                      <a:pt x="396" y="1613"/>
                    </a:cubicBezTo>
                    <a:cubicBezTo>
                      <a:pt x="404" y="1633"/>
                      <a:pt x="411" y="1652"/>
                      <a:pt x="415" y="1674"/>
                    </a:cubicBezTo>
                    <a:cubicBezTo>
                      <a:pt x="418" y="1695"/>
                      <a:pt x="422" y="1715"/>
                      <a:pt x="424" y="1736"/>
                    </a:cubicBezTo>
                    <a:cubicBezTo>
                      <a:pt x="429" y="1768"/>
                      <a:pt x="430" y="1800"/>
                      <a:pt x="433" y="1832"/>
                    </a:cubicBezTo>
                    <a:cubicBezTo>
                      <a:pt x="436" y="1867"/>
                      <a:pt x="440" y="1901"/>
                      <a:pt x="443" y="1936"/>
                    </a:cubicBezTo>
                    <a:cubicBezTo>
                      <a:pt x="447" y="1970"/>
                      <a:pt x="451" y="2004"/>
                      <a:pt x="455" y="2039"/>
                    </a:cubicBezTo>
                    <a:cubicBezTo>
                      <a:pt x="458" y="2067"/>
                      <a:pt x="457" y="2096"/>
                      <a:pt x="459" y="2124"/>
                    </a:cubicBezTo>
                    <a:cubicBezTo>
                      <a:pt x="460" y="2144"/>
                      <a:pt x="468" y="2163"/>
                      <a:pt x="471" y="2183"/>
                    </a:cubicBezTo>
                    <a:cubicBezTo>
                      <a:pt x="472" y="2192"/>
                      <a:pt x="471" y="2201"/>
                      <a:pt x="472" y="2210"/>
                    </a:cubicBezTo>
                    <a:cubicBezTo>
                      <a:pt x="472" y="2218"/>
                      <a:pt x="479" y="2223"/>
                      <a:pt x="478" y="2230"/>
                    </a:cubicBezTo>
                    <a:cubicBezTo>
                      <a:pt x="477" y="2234"/>
                      <a:pt x="478" y="2238"/>
                      <a:pt x="477" y="2243"/>
                    </a:cubicBezTo>
                    <a:cubicBezTo>
                      <a:pt x="477" y="2246"/>
                      <a:pt x="473" y="2245"/>
                      <a:pt x="471" y="2246"/>
                    </a:cubicBezTo>
                    <a:cubicBezTo>
                      <a:pt x="469" y="2248"/>
                      <a:pt x="469" y="2256"/>
                      <a:pt x="469" y="2259"/>
                    </a:cubicBezTo>
                    <a:cubicBezTo>
                      <a:pt x="468" y="2266"/>
                      <a:pt x="468" y="2274"/>
                      <a:pt x="468" y="2282"/>
                    </a:cubicBezTo>
                    <a:cubicBezTo>
                      <a:pt x="467" y="2289"/>
                      <a:pt x="468" y="2295"/>
                      <a:pt x="476" y="2298"/>
                    </a:cubicBezTo>
                    <a:cubicBezTo>
                      <a:pt x="480" y="2300"/>
                      <a:pt x="484" y="2303"/>
                      <a:pt x="489" y="2304"/>
                    </a:cubicBezTo>
                    <a:cubicBezTo>
                      <a:pt x="491" y="2305"/>
                      <a:pt x="497" y="2301"/>
                      <a:pt x="498" y="2302"/>
                    </a:cubicBezTo>
                    <a:cubicBezTo>
                      <a:pt x="501" y="2305"/>
                      <a:pt x="488" y="2317"/>
                      <a:pt x="497" y="2323"/>
                    </a:cubicBezTo>
                    <a:cubicBezTo>
                      <a:pt x="505" y="2329"/>
                      <a:pt x="519" y="2329"/>
                      <a:pt x="529" y="2330"/>
                    </a:cubicBezTo>
                    <a:cubicBezTo>
                      <a:pt x="550" y="2334"/>
                      <a:pt x="572" y="2335"/>
                      <a:pt x="594" y="2334"/>
                    </a:cubicBezTo>
                    <a:cubicBezTo>
                      <a:pt x="607" y="2333"/>
                      <a:pt x="620" y="2331"/>
                      <a:pt x="634" y="2331"/>
                    </a:cubicBezTo>
                    <a:cubicBezTo>
                      <a:pt x="645" y="2331"/>
                      <a:pt x="640" y="2319"/>
                      <a:pt x="634" y="2314"/>
                    </a:cubicBezTo>
                    <a:cubicBezTo>
                      <a:pt x="631" y="2312"/>
                      <a:pt x="630" y="2313"/>
                      <a:pt x="630" y="2309"/>
                    </a:cubicBezTo>
                    <a:cubicBezTo>
                      <a:pt x="630" y="2304"/>
                      <a:pt x="630" y="2298"/>
                      <a:pt x="629" y="2293"/>
                    </a:cubicBezTo>
                    <a:cubicBezTo>
                      <a:pt x="625" y="2283"/>
                      <a:pt x="615" y="2275"/>
                      <a:pt x="611" y="2265"/>
                    </a:cubicBezTo>
                    <a:cubicBezTo>
                      <a:pt x="606" y="2255"/>
                      <a:pt x="597" y="2249"/>
                      <a:pt x="594" y="2238"/>
                    </a:cubicBezTo>
                    <a:cubicBezTo>
                      <a:pt x="590" y="2228"/>
                      <a:pt x="591" y="2228"/>
                      <a:pt x="597" y="2219"/>
                    </a:cubicBezTo>
                    <a:cubicBezTo>
                      <a:pt x="604" y="2208"/>
                      <a:pt x="600" y="2196"/>
                      <a:pt x="598" y="2184"/>
                    </a:cubicBezTo>
                    <a:cubicBezTo>
                      <a:pt x="596" y="2174"/>
                      <a:pt x="595" y="2163"/>
                      <a:pt x="594" y="2152"/>
                    </a:cubicBezTo>
                    <a:cubicBezTo>
                      <a:pt x="592" y="2132"/>
                      <a:pt x="584" y="2106"/>
                      <a:pt x="593" y="2087"/>
                    </a:cubicBezTo>
                    <a:cubicBezTo>
                      <a:pt x="599" y="2074"/>
                      <a:pt x="597" y="2057"/>
                      <a:pt x="598" y="2043"/>
                    </a:cubicBezTo>
                    <a:cubicBezTo>
                      <a:pt x="598" y="2006"/>
                      <a:pt x="597" y="1969"/>
                      <a:pt x="596" y="1932"/>
                    </a:cubicBezTo>
                    <a:cubicBezTo>
                      <a:pt x="596" y="1891"/>
                      <a:pt x="595" y="1851"/>
                      <a:pt x="591" y="1810"/>
                    </a:cubicBezTo>
                    <a:cubicBezTo>
                      <a:pt x="590" y="1792"/>
                      <a:pt x="587" y="1773"/>
                      <a:pt x="586" y="1754"/>
                    </a:cubicBezTo>
                    <a:cubicBezTo>
                      <a:pt x="584" y="1732"/>
                      <a:pt x="585" y="1711"/>
                      <a:pt x="582" y="1689"/>
                    </a:cubicBezTo>
                    <a:cubicBezTo>
                      <a:pt x="579" y="1666"/>
                      <a:pt x="583" y="1642"/>
                      <a:pt x="584" y="1619"/>
                    </a:cubicBezTo>
                    <a:cubicBezTo>
                      <a:pt x="584" y="1586"/>
                      <a:pt x="589" y="1553"/>
                      <a:pt x="592" y="1520"/>
                    </a:cubicBezTo>
                    <a:cubicBezTo>
                      <a:pt x="596" y="1465"/>
                      <a:pt x="584" y="1412"/>
                      <a:pt x="584" y="1357"/>
                    </a:cubicBezTo>
                    <a:cubicBezTo>
                      <a:pt x="584" y="1352"/>
                      <a:pt x="583" y="1341"/>
                      <a:pt x="588" y="1338"/>
                    </a:cubicBezTo>
                    <a:cubicBezTo>
                      <a:pt x="592" y="1336"/>
                      <a:pt x="597" y="1335"/>
                      <a:pt x="601" y="1332"/>
                    </a:cubicBezTo>
                    <a:cubicBezTo>
                      <a:pt x="607" y="1329"/>
                      <a:pt x="615" y="1328"/>
                      <a:pt x="619" y="1324"/>
                    </a:cubicBezTo>
                    <a:cubicBezTo>
                      <a:pt x="622" y="1321"/>
                      <a:pt x="624" y="1319"/>
                      <a:pt x="629" y="1319"/>
                    </a:cubicBezTo>
                    <a:cubicBezTo>
                      <a:pt x="635" y="1318"/>
                      <a:pt x="636" y="1314"/>
                      <a:pt x="637" y="1309"/>
                    </a:cubicBezTo>
                    <a:cubicBezTo>
                      <a:pt x="639" y="1305"/>
                      <a:pt x="641" y="1304"/>
                      <a:pt x="645" y="1302"/>
                    </a:cubicBezTo>
                    <a:cubicBezTo>
                      <a:pt x="651" y="1300"/>
                      <a:pt x="652" y="1293"/>
                      <a:pt x="654" y="1288"/>
                    </a:cubicBezTo>
                    <a:cubicBezTo>
                      <a:pt x="656" y="1278"/>
                      <a:pt x="657" y="1268"/>
                      <a:pt x="660" y="1258"/>
                    </a:cubicBezTo>
                    <a:cubicBezTo>
                      <a:pt x="663" y="1247"/>
                      <a:pt x="661" y="1232"/>
                      <a:pt x="661" y="1220"/>
                    </a:cubicBezTo>
                    <a:cubicBezTo>
                      <a:pt x="661" y="1218"/>
                      <a:pt x="659" y="1207"/>
                      <a:pt x="661" y="1207"/>
                    </a:cubicBezTo>
                    <a:cubicBezTo>
                      <a:pt x="663" y="1207"/>
                      <a:pt x="666" y="1205"/>
                      <a:pt x="665" y="1203"/>
                    </a:cubicBezTo>
                    <a:cubicBezTo>
                      <a:pt x="665" y="1200"/>
                      <a:pt x="663" y="1199"/>
                      <a:pt x="663" y="1196"/>
                    </a:cubicBezTo>
                    <a:cubicBezTo>
                      <a:pt x="664" y="1189"/>
                      <a:pt x="667" y="1185"/>
                      <a:pt x="667" y="1178"/>
                    </a:cubicBezTo>
                    <a:cubicBezTo>
                      <a:pt x="666" y="1173"/>
                      <a:pt x="666" y="1167"/>
                      <a:pt x="663" y="1164"/>
                    </a:cubicBezTo>
                    <a:cubicBezTo>
                      <a:pt x="659" y="1158"/>
                      <a:pt x="664" y="1160"/>
                      <a:pt x="667" y="1156"/>
                    </a:cubicBezTo>
                    <a:cubicBezTo>
                      <a:pt x="671" y="1150"/>
                      <a:pt x="670" y="1138"/>
                      <a:pt x="668" y="1131"/>
                    </a:cubicBezTo>
                    <a:cubicBezTo>
                      <a:pt x="667" y="1127"/>
                      <a:pt x="665" y="1127"/>
                      <a:pt x="663" y="1123"/>
                    </a:cubicBezTo>
                    <a:cubicBezTo>
                      <a:pt x="661" y="1119"/>
                      <a:pt x="667" y="1112"/>
                      <a:pt x="669" y="1109"/>
                    </a:cubicBezTo>
                    <a:cubicBezTo>
                      <a:pt x="671" y="1103"/>
                      <a:pt x="673" y="1096"/>
                      <a:pt x="671" y="1089"/>
                    </a:cubicBezTo>
                    <a:cubicBezTo>
                      <a:pt x="670" y="1082"/>
                      <a:pt x="664" y="1076"/>
                      <a:pt x="667" y="1068"/>
                    </a:cubicBezTo>
                    <a:cubicBezTo>
                      <a:pt x="670" y="1062"/>
                      <a:pt x="674" y="1058"/>
                      <a:pt x="675" y="1052"/>
                    </a:cubicBezTo>
                    <a:cubicBezTo>
                      <a:pt x="676" y="1046"/>
                      <a:pt x="676" y="1041"/>
                      <a:pt x="676" y="1035"/>
                    </a:cubicBezTo>
                    <a:cubicBezTo>
                      <a:pt x="676" y="1022"/>
                      <a:pt x="680" y="1011"/>
                      <a:pt x="676" y="998"/>
                    </a:cubicBezTo>
                    <a:moveTo>
                      <a:pt x="95" y="1318"/>
                    </a:moveTo>
                    <a:cubicBezTo>
                      <a:pt x="91" y="1319"/>
                      <a:pt x="87" y="1323"/>
                      <a:pt x="86" y="1318"/>
                    </a:cubicBezTo>
                    <a:cubicBezTo>
                      <a:pt x="85" y="1310"/>
                      <a:pt x="85" y="1301"/>
                      <a:pt x="82" y="1294"/>
                    </a:cubicBezTo>
                    <a:cubicBezTo>
                      <a:pt x="80" y="1292"/>
                      <a:pt x="82" y="1291"/>
                      <a:pt x="83" y="1290"/>
                    </a:cubicBezTo>
                    <a:cubicBezTo>
                      <a:pt x="84" y="1286"/>
                      <a:pt x="81" y="1281"/>
                      <a:pt x="81" y="1278"/>
                    </a:cubicBezTo>
                    <a:cubicBezTo>
                      <a:pt x="80" y="1272"/>
                      <a:pt x="79" y="1266"/>
                      <a:pt x="86" y="1265"/>
                    </a:cubicBezTo>
                    <a:cubicBezTo>
                      <a:pt x="87" y="1265"/>
                      <a:pt x="94" y="1260"/>
                      <a:pt x="95" y="1262"/>
                    </a:cubicBezTo>
                    <a:cubicBezTo>
                      <a:pt x="98" y="1267"/>
                      <a:pt x="96" y="1278"/>
                      <a:pt x="96" y="1283"/>
                    </a:cubicBezTo>
                    <a:cubicBezTo>
                      <a:pt x="97" y="1291"/>
                      <a:pt x="97" y="1299"/>
                      <a:pt x="98" y="1307"/>
                    </a:cubicBezTo>
                    <a:cubicBezTo>
                      <a:pt x="99" y="1313"/>
                      <a:pt x="102" y="1316"/>
                      <a:pt x="95" y="1318"/>
                    </a:cubicBezTo>
                    <a:moveTo>
                      <a:pt x="146" y="764"/>
                    </a:moveTo>
                    <a:cubicBezTo>
                      <a:pt x="146" y="772"/>
                      <a:pt x="143" y="781"/>
                      <a:pt x="142" y="790"/>
                    </a:cubicBezTo>
                    <a:cubicBezTo>
                      <a:pt x="141" y="800"/>
                      <a:pt x="143" y="810"/>
                      <a:pt x="145" y="821"/>
                    </a:cubicBezTo>
                    <a:cubicBezTo>
                      <a:pt x="146" y="828"/>
                      <a:pt x="147" y="836"/>
                      <a:pt x="145" y="844"/>
                    </a:cubicBezTo>
                    <a:cubicBezTo>
                      <a:pt x="144" y="853"/>
                      <a:pt x="140" y="862"/>
                      <a:pt x="139" y="872"/>
                    </a:cubicBezTo>
                    <a:cubicBezTo>
                      <a:pt x="139" y="882"/>
                      <a:pt x="139" y="893"/>
                      <a:pt x="138" y="904"/>
                    </a:cubicBezTo>
                    <a:cubicBezTo>
                      <a:pt x="137" y="913"/>
                      <a:pt x="134" y="922"/>
                      <a:pt x="135" y="931"/>
                    </a:cubicBezTo>
                    <a:cubicBezTo>
                      <a:pt x="135" y="940"/>
                      <a:pt x="142" y="948"/>
                      <a:pt x="139" y="958"/>
                    </a:cubicBezTo>
                    <a:cubicBezTo>
                      <a:pt x="137" y="969"/>
                      <a:pt x="131" y="980"/>
                      <a:pt x="128" y="991"/>
                    </a:cubicBezTo>
                    <a:cubicBezTo>
                      <a:pt x="125" y="999"/>
                      <a:pt x="123" y="1007"/>
                      <a:pt x="122" y="1016"/>
                    </a:cubicBezTo>
                    <a:cubicBezTo>
                      <a:pt x="120" y="1023"/>
                      <a:pt x="116" y="1029"/>
                      <a:pt x="114" y="1036"/>
                    </a:cubicBezTo>
                    <a:cubicBezTo>
                      <a:pt x="110" y="1050"/>
                      <a:pt x="108" y="1065"/>
                      <a:pt x="106" y="1080"/>
                    </a:cubicBezTo>
                    <a:cubicBezTo>
                      <a:pt x="104" y="1087"/>
                      <a:pt x="96" y="1090"/>
                      <a:pt x="104" y="1095"/>
                    </a:cubicBezTo>
                    <a:cubicBezTo>
                      <a:pt x="108" y="1099"/>
                      <a:pt x="104" y="1113"/>
                      <a:pt x="103" y="1118"/>
                    </a:cubicBezTo>
                    <a:cubicBezTo>
                      <a:pt x="103" y="1120"/>
                      <a:pt x="101" y="1141"/>
                      <a:pt x="99" y="1142"/>
                    </a:cubicBezTo>
                    <a:cubicBezTo>
                      <a:pt x="96" y="1142"/>
                      <a:pt x="91" y="1128"/>
                      <a:pt x="91" y="1125"/>
                    </a:cubicBezTo>
                    <a:cubicBezTo>
                      <a:pt x="91" y="1119"/>
                      <a:pt x="92" y="1114"/>
                      <a:pt x="93" y="1108"/>
                    </a:cubicBezTo>
                    <a:cubicBezTo>
                      <a:pt x="93" y="1104"/>
                      <a:pt x="91" y="1099"/>
                      <a:pt x="92" y="1095"/>
                    </a:cubicBezTo>
                    <a:cubicBezTo>
                      <a:pt x="98" y="1080"/>
                      <a:pt x="100" y="1065"/>
                      <a:pt x="104" y="1050"/>
                    </a:cubicBezTo>
                    <a:cubicBezTo>
                      <a:pt x="106" y="1042"/>
                      <a:pt x="108" y="1034"/>
                      <a:pt x="110" y="1026"/>
                    </a:cubicBezTo>
                    <a:cubicBezTo>
                      <a:pt x="112" y="1018"/>
                      <a:pt x="118" y="1008"/>
                      <a:pt x="117" y="1000"/>
                    </a:cubicBezTo>
                    <a:cubicBezTo>
                      <a:pt x="117" y="994"/>
                      <a:pt x="115" y="988"/>
                      <a:pt x="117" y="982"/>
                    </a:cubicBezTo>
                    <a:cubicBezTo>
                      <a:pt x="118" y="977"/>
                      <a:pt x="120" y="973"/>
                      <a:pt x="121" y="969"/>
                    </a:cubicBezTo>
                    <a:cubicBezTo>
                      <a:pt x="123" y="958"/>
                      <a:pt x="122" y="947"/>
                      <a:pt x="124" y="936"/>
                    </a:cubicBezTo>
                    <a:cubicBezTo>
                      <a:pt x="126" y="924"/>
                      <a:pt x="130" y="918"/>
                      <a:pt x="126" y="906"/>
                    </a:cubicBezTo>
                    <a:cubicBezTo>
                      <a:pt x="124" y="897"/>
                      <a:pt x="129" y="888"/>
                      <a:pt x="132" y="879"/>
                    </a:cubicBezTo>
                    <a:cubicBezTo>
                      <a:pt x="135" y="868"/>
                      <a:pt x="133" y="860"/>
                      <a:pt x="133" y="849"/>
                    </a:cubicBezTo>
                    <a:cubicBezTo>
                      <a:pt x="132" y="842"/>
                      <a:pt x="129" y="832"/>
                      <a:pt x="131" y="825"/>
                    </a:cubicBezTo>
                    <a:cubicBezTo>
                      <a:pt x="137" y="805"/>
                      <a:pt x="133" y="784"/>
                      <a:pt x="137" y="764"/>
                    </a:cubicBezTo>
                    <a:cubicBezTo>
                      <a:pt x="140" y="753"/>
                      <a:pt x="142" y="743"/>
                      <a:pt x="144" y="733"/>
                    </a:cubicBezTo>
                    <a:cubicBezTo>
                      <a:pt x="144" y="731"/>
                      <a:pt x="145" y="722"/>
                      <a:pt x="147" y="720"/>
                    </a:cubicBezTo>
                    <a:cubicBezTo>
                      <a:pt x="147" y="721"/>
                      <a:pt x="147" y="731"/>
                      <a:pt x="147" y="732"/>
                    </a:cubicBezTo>
                    <a:cubicBezTo>
                      <a:pt x="147" y="736"/>
                      <a:pt x="148" y="738"/>
                      <a:pt x="148" y="742"/>
                    </a:cubicBezTo>
                    <a:cubicBezTo>
                      <a:pt x="150" y="749"/>
                      <a:pt x="147" y="756"/>
                      <a:pt x="146" y="764"/>
                    </a:cubicBezTo>
                    <a:moveTo>
                      <a:pt x="565" y="1169"/>
                    </a:moveTo>
                    <a:cubicBezTo>
                      <a:pt x="567" y="1152"/>
                      <a:pt x="564" y="1133"/>
                      <a:pt x="562" y="1116"/>
                    </a:cubicBezTo>
                    <a:cubicBezTo>
                      <a:pt x="561" y="1109"/>
                      <a:pt x="557" y="1103"/>
                      <a:pt x="563" y="1097"/>
                    </a:cubicBezTo>
                    <a:cubicBezTo>
                      <a:pt x="565" y="1095"/>
                      <a:pt x="571" y="1093"/>
                      <a:pt x="567" y="1088"/>
                    </a:cubicBezTo>
                    <a:cubicBezTo>
                      <a:pt x="564" y="1085"/>
                      <a:pt x="562" y="1087"/>
                      <a:pt x="561" y="1083"/>
                    </a:cubicBezTo>
                    <a:cubicBezTo>
                      <a:pt x="555" y="1062"/>
                      <a:pt x="549" y="1042"/>
                      <a:pt x="546" y="1020"/>
                    </a:cubicBezTo>
                    <a:cubicBezTo>
                      <a:pt x="543" y="994"/>
                      <a:pt x="534" y="969"/>
                      <a:pt x="535" y="943"/>
                    </a:cubicBezTo>
                    <a:cubicBezTo>
                      <a:pt x="535" y="924"/>
                      <a:pt x="533" y="904"/>
                      <a:pt x="533" y="885"/>
                    </a:cubicBezTo>
                    <a:cubicBezTo>
                      <a:pt x="533" y="863"/>
                      <a:pt x="534" y="840"/>
                      <a:pt x="534" y="817"/>
                    </a:cubicBezTo>
                    <a:cubicBezTo>
                      <a:pt x="534" y="797"/>
                      <a:pt x="533" y="778"/>
                      <a:pt x="534" y="758"/>
                    </a:cubicBezTo>
                    <a:cubicBezTo>
                      <a:pt x="534" y="750"/>
                      <a:pt x="534" y="741"/>
                      <a:pt x="535" y="733"/>
                    </a:cubicBezTo>
                    <a:cubicBezTo>
                      <a:pt x="536" y="728"/>
                      <a:pt x="537" y="722"/>
                      <a:pt x="537" y="717"/>
                    </a:cubicBezTo>
                    <a:cubicBezTo>
                      <a:pt x="537" y="715"/>
                      <a:pt x="537" y="710"/>
                      <a:pt x="538" y="709"/>
                    </a:cubicBezTo>
                    <a:cubicBezTo>
                      <a:pt x="537" y="710"/>
                      <a:pt x="545" y="727"/>
                      <a:pt x="546" y="729"/>
                    </a:cubicBezTo>
                    <a:cubicBezTo>
                      <a:pt x="549" y="739"/>
                      <a:pt x="549" y="749"/>
                      <a:pt x="550" y="760"/>
                    </a:cubicBezTo>
                    <a:cubicBezTo>
                      <a:pt x="550" y="769"/>
                      <a:pt x="551" y="778"/>
                      <a:pt x="553" y="787"/>
                    </a:cubicBezTo>
                    <a:cubicBezTo>
                      <a:pt x="555" y="799"/>
                      <a:pt x="553" y="810"/>
                      <a:pt x="555" y="822"/>
                    </a:cubicBezTo>
                    <a:cubicBezTo>
                      <a:pt x="556" y="836"/>
                      <a:pt x="554" y="848"/>
                      <a:pt x="554" y="862"/>
                    </a:cubicBezTo>
                    <a:cubicBezTo>
                      <a:pt x="553" y="874"/>
                      <a:pt x="555" y="887"/>
                      <a:pt x="557" y="899"/>
                    </a:cubicBezTo>
                    <a:cubicBezTo>
                      <a:pt x="558" y="908"/>
                      <a:pt x="559" y="916"/>
                      <a:pt x="562" y="925"/>
                    </a:cubicBezTo>
                    <a:cubicBezTo>
                      <a:pt x="566" y="936"/>
                      <a:pt x="565" y="952"/>
                      <a:pt x="566" y="964"/>
                    </a:cubicBezTo>
                    <a:cubicBezTo>
                      <a:pt x="566" y="978"/>
                      <a:pt x="572" y="989"/>
                      <a:pt x="573" y="1003"/>
                    </a:cubicBezTo>
                    <a:cubicBezTo>
                      <a:pt x="575" y="1015"/>
                      <a:pt x="575" y="1027"/>
                      <a:pt x="577" y="1038"/>
                    </a:cubicBezTo>
                    <a:cubicBezTo>
                      <a:pt x="579" y="1047"/>
                      <a:pt x="577" y="1053"/>
                      <a:pt x="575" y="1062"/>
                    </a:cubicBezTo>
                    <a:cubicBezTo>
                      <a:pt x="574" y="1072"/>
                      <a:pt x="580" y="1081"/>
                      <a:pt x="578" y="1090"/>
                    </a:cubicBezTo>
                    <a:cubicBezTo>
                      <a:pt x="578" y="1097"/>
                      <a:pt x="576" y="1103"/>
                      <a:pt x="576" y="1109"/>
                    </a:cubicBezTo>
                    <a:cubicBezTo>
                      <a:pt x="576" y="1115"/>
                      <a:pt x="578" y="1122"/>
                      <a:pt x="576" y="1127"/>
                    </a:cubicBezTo>
                    <a:cubicBezTo>
                      <a:pt x="574" y="1134"/>
                      <a:pt x="574" y="1136"/>
                      <a:pt x="578" y="1142"/>
                    </a:cubicBezTo>
                    <a:cubicBezTo>
                      <a:pt x="580" y="1144"/>
                      <a:pt x="584" y="1147"/>
                      <a:pt x="583" y="1150"/>
                    </a:cubicBezTo>
                    <a:cubicBezTo>
                      <a:pt x="582" y="1154"/>
                      <a:pt x="580" y="1158"/>
                      <a:pt x="578" y="1161"/>
                    </a:cubicBezTo>
                    <a:cubicBezTo>
                      <a:pt x="577" y="1163"/>
                      <a:pt x="571" y="1167"/>
                      <a:pt x="571" y="1167"/>
                    </a:cubicBezTo>
                    <a:cubicBezTo>
                      <a:pt x="571" y="1171"/>
                      <a:pt x="572" y="1173"/>
                      <a:pt x="568" y="1177"/>
                    </a:cubicBezTo>
                    <a:cubicBezTo>
                      <a:pt x="564" y="1180"/>
                      <a:pt x="565" y="1171"/>
                      <a:pt x="565" y="1169"/>
                    </a:cubicBezTo>
                    <a:moveTo>
                      <a:pt x="584" y="1252"/>
                    </a:moveTo>
                    <a:cubicBezTo>
                      <a:pt x="580" y="1259"/>
                      <a:pt x="583" y="1265"/>
                      <a:pt x="583" y="1271"/>
                    </a:cubicBezTo>
                    <a:cubicBezTo>
                      <a:pt x="583" y="1273"/>
                      <a:pt x="578" y="1289"/>
                      <a:pt x="579" y="1290"/>
                    </a:cubicBezTo>
                    <a:cubicBezTo>
                      <a:pt x="576" y="1288"/>
                      <a:pt x="576" y="1279"/>
                      <a:pt x="575" y="1276"/>
                    </a:cubicBezTo>
                    <a:cubicBezTo>
                      <a:pt x="574" y="1271"/>
                      <a:pt x="572" y="1266"/>
                      <a:pt x="572" y="1261"/>
                    </a:cubicBezTo>
                    <a:cubicBezTo>
                      <a:pt x="571" y="1257"/>
                      <a:pt x="569" y="1244"/>
                      <a:pt x="575" y="1242"/>
                    </a:cubicBezTo>
                    <a:cubicBezTo>
                      <a:pt x="577" y="1241"/>
                      <a:pt x="585" y="1249"/>
                      <a:pt x="584" y="1252"/>
                    </a:cubicBezTo>
                  </a:path>
                </a:pathLst>
              </a:custGeom>
              <a:solidFill>
                <a:schemeClr val="tx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grpSp>
            <p:nvGrpSpPr>
              <p:cNvPr id="368" name="Gruppieren 281">
                <a:extLst>
                  <a:ext uri="{FF2B5EF4-FFF2-40B4-BE49-F238E27FC236}">
                    <a16:creationId xmlns:a16="http://schemas.microsoft.com/office/drawing/2014/main" id="{12B0EC41-6717-4B6D-A6FC-E85B4855825A}"/>
                  </a:ext>
                </a:extLst>
              </p:cNvPr>
              <p:cNvGrpSpPr/>
              <p:nvPr/>
            </p:nvGrpSpPr>
            <p:grpSpPr>
              <a:xfrm>
                <a:off x="2739987" y="3833767"/>
                <a:ext cx="159492" cy="328959"/>
                <a:chOff x="2519371" y="955678"/>
                <a:chExt cx="1695457" cy="4968890"/>
              </a:xfrm>
              <a:solidFill>
                <a:schemeClr val="tx1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369" name="Freeform 156">
                  <a:extLst>
                    <a:ext uri="{FF2B5EF4-FFF2-40B4-BE49-F238E27FC236}">
                      <a16:creationId xmlns:a16="http://schemas.microsoft.com/office/drawing/2014/main" id="{D1F608CB-C886-4B0F-97D1-41D9870C66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84626" y="3435360"/>
                  <a:ext cx="269878" cy="404813"/>
                </a:xfrm>
                <a:custGeom>
                  <a:avLst/>
                  <a:gdLst>
                    <a:gd name="T0" fmla="*/ 29 w 72"/>
                    <a:gd name="T1" fmla="*/ 0 h 108"/>
                    <a:gd name="T2" fmla="*/ 37 w 72"/>
                    <a:gd name="T3" fmla="*/ 0 h 108"/>
                    <a:gd name="T4" fmla="*/ 68 w 72"/>
                    <a:gd name="T5" fmla="*/ 6 h 108"/>
                    <a:gd name="T6" fmla="*/ 70 w 72"/>
                    <a:gd name="T7" fmla="*/ 58 h 108"/>
                    <a:gd name="T8" fmla="*/ 60 w 72"/>
                    <a:gd name="T9" fmla="*/ 78 h 108"/>
                    <a:gd name="T10" fmla="*/ 14 w 72"/>
                    <a:gd name="T11" fmla="*/ 108 h 108"/>
                    <a:gd name="T12" fmla="*/ 5 w 72"/>
                    <a:gd name="T13" fmla="*/ 102 h 108"/>
                    <a:gd name="T14" fmla="*/ 13 w 72"/>
                    <a:gd name="T15" fmla="*/ 80 h 108"/>
                    <a:gd name="T16" fmla="*/ 15 w 72"/>
                    <a:gd name="T17" fmla="*/ 6 h 108"/>
                    <a:gd name="T18" fmla="*/ 29 w 72"/>
                    <a:gd name="T19" fmla="*/ 0 h 108"/>
                    <a:gd name="T20" fmla="*/ 28 w 72"/>
                    <a:gd name="T21" fmla="*/ 81 h 108"/>
                    <a:gd name="T22" fmla="*/ 41 w 72"/>
                    <a:gd name="T23" fmla="*/ 53 h 108"/>
                    <a:gd name="T24" fmla="*/ 33 w 72"/>
                    <a:gd name="T25" fmla="*/ 51 h 108"/>
                    <a:gd name="T26" fmla="*/ 28 w 72"/>
                    <a:gd name="T27" fmla="*/ 81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2" h="108">
                      <a:moveTo>
                        <a:pt x="29" y="0"/>
                      </a:moveTo>
                      <a:cubicBezTo>
                        <a:pt x="32" y="0"/>
                        <a:pt x="34" y="0"/>
                        <a:pt x="37" y="0"/>
                      </a:cubicBezTo>
                      <a:cubicBezTo>
                        <a:pt x="45" y="3"/>
                        <a:pt x="60" y="2"/>
                        <a:pt x="68" y="6"/>
                      </a:cubicBezTo>
                      <a:cubicBezTo>
                        <a:pt x="67" y="23"/>
                        <a:pt x="72" y="43"/>
                        <a:pt x="70" y="58"/>
                      </a:cubicBezTo>
                      <a:cubicBezTo>
                        <a:pt x="68" y="65"/>
                        <a:pt x="63" y="72"/>
                        <a:pt x="60" y="78"/>
                      </a:cubicBezTo>
                      <a:cubicBezTo>
                        <a:pt x="49" y="98"/>
                        <a:pt x="39" y="102"/>
                        <a:pt x="14" y="108"/>
                      </a:cubicBezTo>
                      <a:cubicBezTo>
                        <a:pt x="17" y="101"/>
                        <a:pt x="5" y="107"/>
                        <a:pt x="5" y="102"/>
                      </a:cubicBezTo>
                      <a:cubicBezTo>
                        <a:pt x="0" y="90"/>
                        <a:pt x="6" y="87"/>
                        <a:pt x="13" y="80"/>
                      </a:cubicBezTo>
                      <a:cubicBezTo>
                        <a:pt x="15" y="57"/>
                        <a:pt x="13" y="28"/>
                        <a:pt x="15" y="6"/>
                      </a:cubicBezTo>
                      <a:cubicBezTo>
                        <a:pt x="20" y="3"/>
                        <a:pt x="29" y="6"/>
                        <a:pt x="29" y="0"/>
                      </a:cubicBezTo>
                      <a:close/>
                      <a:moveTo>
                        <a:pt x="28" y="81"/>
                      </a:moveTo>
                      <a:cubicBezTo>
                        <a:pt x="41" y="81"/>
                        <a:pt x="43" y="67"/>
                        <a:pt x="41" y="53"/>
                      </a:cubicBezTo>
                      <a:cubicBezTo>
                        <a:pt x="37" y="54"/>
                        <a:pt x="37" y="51"/>
                        <a:pt x="33" y="51"/>
                      </a:cubicBezTo>
                      <a:cubicBezTo>
                        <a:pt x="30" y="61"/>
                        <a:pt x="32" y="75"/>
                        <a:pt x="28" y="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70" name="Freeform 159">
                  <a:extLst>
                    <a:ext uri="{FF2B5EF4-FFF2-40B4-BE49-F238E27FC236}">
                      <a16:creationId xmlns:a16="http://schemas.microsoft.com/office/drawing/2014/main" id="{ED9A4B02-6AC0-40BF-9ADA-60F534CFE5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9775" y="5519755"/>
                  <a:ext cx="539752" cy="404813"/>
                </a:xfrm>
                <a:custGeom>
                  <a:avLst/>
                  <a:gdLst>
                    <a:gd name="T0" fmla="*/ 19 w 144"/>
                    <a:gd name="T1" fmla="*/ 0 h 108"/>
                    <a:gd name="T2" fmla="*/ 21 w 144"/>
                    <a:gd name="T3" fmla="*/ 0 h 108"/>
                    <a:gd name="T4" fmla="*/ 55 w 144"/>
                    <a:gd name="T5" fmla="*/ 19 h 108"/>
                    <a:gd name="T6" fmla="*/ 139 w 144"/>
                    <a:gd name="T7" fmla="*/ 47 h 108"/>
                    <a:gd name="T8" fmla="*/ 144 w 144"/>
                    <a:gd name="T9" fmla="*/ 62 h 108"/>
                    <a:gd name="T10" fmla="*/ 144 w 144"/>
                    <a:gd name="T11" fmla="*/ 66 h 108"/>
                    <a:gd name="T12" fmla="*/ 137 w 144"/>
                    <a:gd name="T13" fmla="*/ 88 h 108"/>
                    <a:gd name="T14" fmla="*/ 105 w 144"/>
                    <a:gd name="T15" fmla="*/ 91 h 108"/>
                    <a:gd name="T16" fmla="*/ 100 w 144"/>
                    <a:gd name="T17" fmla="*/ 103 h 108"/>
                    <a:gd name="T18" fmla="*/ 90 w 144"/>
                    <a:gd name="T19" fmla="*/ 108 h 108"/>
                    <a:gd name="T20" fmla="*/ 82 w 144"/>
                    <a:gd name="T21" fmla="*/ 108 h 108"/>
                    <a:gd name="T22" fmla="*/ 31 w 144"/>
                    <a:gd name="T23" fmla="*/ 100 h 108"/>
                    <a:gd name="T24" fmla="*/ 32 w 144"/>
                    <a:gd name="T25" fmla="*/ 73 h 108"/>
                    <a:gd name="T26" fmla="*/ 0 w 144"/>
                    <a:gd name="T27" fmla="*/ 65 h 108"/>
                    <a:gd name="T28" fmla="*/ 0 w 144"/>
                    <a:gd name="T29" fmla="*/ 51 h 108"/>
                    <a:gd name="T30" fmla="*/ 11 w 144"/>
                    <a:gd name="T31" fmla="*/ 12 h 108"/>
                    <a:gd name="T32" fmla="*/ 19 w 144"/>
                    <a:gd name="T33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44" h="108">
                      <a:moveTo>
                        <a:pt x="19" y="0"/>
                      </a:moveTo>
                      <a:cubicBezTo>
                        <a:pt x="19" y="0"/>
                        <a:pt x="20" y="0"/>
                        <a:pt x="21" y="0"/>
                      </a:cubicBezTo>
                      <a:cubicBezTo>
                        <a:pt x="33" y="7"/>
                        <a:pt x="45" y="13"/>
                        <a:pt x="55" y="19"/>
                      </a:cubicBezTo>
                      <a:cubicBezTo>
                        <a:pt x="92" y="2"/>
                        <a:pt x="120" y="31"/>
                        <a:pt x="139" y="47"/>
                      </a:cubicBezTo>
                      <a:cubicBezTo>
                        <a:pt x="141" y="52"/>
                        <a:pt x="141" y="58"/>
                        <a:pt x="144" y="62"/>
                      </a:cubicBezTo>
                      <a:cubicBezTo>
                        <a:pt x="144" y="63"/>
                        <a:pt x="144" y="65"/>
                        <a:pt x="144" y="66"/>
                      </a:cubicBezTo>
                      <a:cubicBezTo>
                        <a:pt x="142" y="75"/>
                        <a:pt x="141" y="83"/>
                        <a:pt x="137" y="88"/>
                      </a:cubicBezTo>
                      <a:cubicBezTo>
                        <a:pt x="124" y="87"/>
                        <a:pt x="117" y="91"/>
                        <a:pt x="105" y="91"/>
                      </a:cubicBezTo>
                      <a:cubicBezTo>
                        <a:pt x="99" y="91"/>
                        <a:pt x="104" y="101"/>
                        <a:pt x="100" y="103"/>
                      </a:cubicBezTo>
                      <a:cubicBezTo>
                        <a:pt x="96" y="105"/>
                        <a:pt x="91" y="106"/>
                        <a:pt x="90" y="108"/>
                      </a:cubicBezTo>
                      <a:cubicBezTo>
                        <a:pt x="87" y="108"/>
                        <a:pt x="84" y="108"/>
                        <a:pt x="82" y="108"/>
                      </a:cubicBezTo>
                      <a:cubicBezTo>
                        <a:pt x="66" y="105"/>
                        <a:pt x="41" y="108"/>
                        <a:pt x="31" y="100"/>
                      </a:cubicBezTo>
                      <a:cubicBezTo>
                        <a:pt x="27" y="90"/>
                        <a:pt x="33" y="85"/>
                        <a:pt x="32" y="73"/>
                      </a:cubicBezTo>
                      <a:cubicBezTo>
                        <a:pt x="23" y="75"/>
                        <a:pt x="8" y="71"/>
                        <a:pt x="0" y="65"/>
                      </a:cubicBezTo>
                      <a:cubicBezTo>
                        <a:pt x="0" y="61"/>
                        <a:pt x="0" y="56"/>
                        <a:pt x="0" y="51"/>
                      </a:cubicBezTo>
                      <a:cubicBezTo>
                        <a:pt x="6" y="39"/>
                        <a:pt x="14" y="27"/>
                        <a:pt x="11" y="12"/>
                      </a:cubicBezTo>
                      <a:cubicBezTo>
                        <a:pt x="11" y="7"/>
                        <a:pt x="18" y="6"/>
                        <a:pt x="19" y="0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71" name="Freeform 160">
                  <a:extLst>
                    <a:ext uri="{FF2B5EF4-FFF2-40B4-BE49-F238E27FC236}">
                      <a16:creationId xmlns:a16="http://schemas.microsoft.com/office/drawing/2014/main" id="{4A7274E7-832B-4444-A0C9-E004E3D5DD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5286" y="3014673"/>
                  <a:ext cx="1109668" cy="2805120"/>
                </a:xfrm>
                <a:custGeom>
                  <a:avLst/>
                  <a:gdLst>
                    <a:gd name="T0" fmla="*/ 0 w 296"/>
                    <a:gd name="T1" fmla="*/ 188 h 748"/>
                    <a:gd name="T2" fmla="*/ 0 w 296"/>
                    <a:gd name="T3" fmla="*/ 183 h 748"/>
                    <a:gd name="T4" fmla="*/ 12 w 296"/>
                    <a:gd name="T5" fmla="*/ 166 h 748"/>
                    <a:gd name="T6" fmla="*/ 103 w 296"/>
                    <a:gd name="T7" fmla="*/ 169 h 748"/>
                    <a:gd name="T8" fmla="*/ 143 w 296"/>
                    <a:gd name="T9" fmla="*/ 9 h 748"/>
                    <a:gd name="T10" fmla="*/ 191 w 296"/>
                    <a:gd name="T11" fmla="*/ 11 h 748"/>
                    <a:gd name="T12" fmla="*/ 225 w 296"/>
                    <a:gd name="T13" fmla="*/ 112 h 748"/>
                    <a:gd name="T14" fmla="*/ 245 w 296"/>
                    <a:gd name="T15" fmla="*/ 133 h 748"/>
                    <a:gd name="T16" fmla="*/ 268 w 296"/>
                    <a:gd name="T17" fmla="*/ 153 h 748"/>
                    <a:gd name="T18" fmla="*/ 296 w 296"/>
                    <a:gd name="T19" fmla="*/ 153 h 748"/>
                    <a:gd name="T20" fmla="*/ 275 w 296"/>
                    <a:gd name="T21" fmla="*/ 276 h 748"/>
                    <a:gd name="T22" fmla="*/ 268 w 296"/>
                    <a:gd name="T23" fmla="*/ 288 h 748"/>
                    <a:gd name="T24" fmla="*/ 264 w 296"/>
                    <a:gd name="T25" fmla="*/ 303 h 748"/>
                    <a:gd name="T26" fmla="*/ 253 w 296"/>
                    <a:gd name="T27" fmla="*/ 328 h 748"/>
                    <a:gd name="T28" fmla="*/ 256 w 296"/>
                    <a:gd name="T29" fmla="*/ 354 h 748"/>
                    <a:gd name="T30" fmla="*/ 252 w 296"/>
                    <a:gd name="T31" fmla="*/ 418 h 748"/>
                    <a:gd name="T32" fmla="*/ 249 w 296"/>
                    <a:gd name="T33" fmla="*/ 514 h 748"/>
                    <a:gd name="T34" fmla="*/ 237 w 296"/>
                    <a:gd name="T35" fmla="*/ 577 h 748"/>
                    <a:gd name="T36" fmla="*/ 223 w 296"/>
                    <a:gd name="T37" fmla="*/ 604 h 748"/>
                    <a:gd name="T38" fmla="*/ 215 w 296"/>
                    <a:gd name="T39" fmla="*/ 633 h 748"/>
                    <a:gd name="T40" fmla="*/ 207 w 296"/>
                    <a:gd name="T41" fmla="*/ 662 h 748"/>
                    <a:gd name="T42" fmla="*/ 222 w 296"/>
                    <a:gd name="T43" fmla="*/ 707 h 748"/>
                    <a:gd name="T44" fmla="*/ 182 w 296"/>
                    <a:gd name="T45" fmla="*/ 689 h 748"/>
                    <a:gd name="T46" fmla="*/ 122 w 296"/>
                    <a:gd name="T47" fmla="*/ 748 h 748"/>
                    <a:gd name="T48" fmla="*/ 114 w 296"/>
                    <a:gd name="T49" fmla="*/ 677 h 748"/>
                    <a:gd name="T50" fmla="*/ 97 w 296"/>
                    <a:gd name="T51" fmla="*/ 672 h 748"/>
                    <a:gd name="T52" fmla="*/ 97 w 296"/>
                    <a:gd name="T53" fmla="*/ 609 h 748"/>
                    <a:gd name="T54" fmla="*/ 86 w 296"/>
                    <a:gd name="T55" fmla="*/ 588 h 748"/>
                    <a:gd name="T56" fmla="*/ 64 w 296"/>
                    <a:gd name="T57" fmla="*/ 525 h 748"/>
                    <a:gd name="T58" fmla="*/ 35 w 296"/>
                    <a:gd name="T59" fmla="*/ 383 h 748"/>
                    <a:gd name="T60" fmla="*/ 19 w 296"/>
                    <a:gd name="T61" fmla="*/ 285 h 748"/>
                    <a:gd name="T62" fmla="*/ 0 w 296"/>
                    <a:gd name="T63" fmla="*/ 188 h 7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96" h="748">
                      <a:moveTo>
                        <a:pt x="0" y="188"/>
                      </a:moveTo>
                      <a:cubicBezTo>
                        <a:pt x="0" y="186"/>
                        <a:pt x="0" y="185"/>
                        <a:pt x="0" y="183"/>
                      </a:cubicBezTo>
                      <a:cubicBezTo>
                        <a:pt x="6" y="178"/>
                        <a:pt x="6" y="168"/>
                        <a:pt x="12" y="166"/>
                      </a:cubicBezTo>
                      <a:cubicBezTo>
                        <a:pt x="37" y="176"/>
                        <a:pt x="73" y="176"/>
                        <a:pt x="103" y="169"/>
                      </a:cubicBezTo>
                      <a:cubicBezTo>
                        <a:pt x="116" y="117"/>
                        <a:pt x="127" y="60"/>
                        <a:pt x="143" y="9"/>
                      </a:cubicBezTo>
                      <a:cubicBezTo>
                        <a:pt x="158" y="0"/>
                        <a:pt x="177" y="2"/>
                        <a:pt x="191" y="11"/>
                      </a:cubicBezTo>
                      <a:cubicBezTo>
                        <a:pt x="204" y="36"/>
                        <a:pt x="210" y="83"/>
                        <a:pt x="225" y="112"/>
                      </a:cubicBezTo>
                      <a:cubicBezTo>
                        <a:pt x="229" y="119"/>
                        <a:pt x="237" y="125"/>
                        <a:pt x="245" y="133"/>
                      </a:cubicBezTo>
                      <a:cubicBezTo>
                        <a:pt x="252" y="140"/>
                        <a:pt x="260" y="152"/>
                        <a:pt x="268" y="153"/>
                      </a:cubicBezTo>
                      <a:cubicBezTo>
                        <a:pt x="277" y="155"/>
                        <a:pt x="286" y="149"/>
                        <a:pt x="296" y="153"/>
                      </a:cubicBezTo>
                      <a:cubicBezTo>
                        <a:pt x="291" y="195"/>
                        <a:pt x="275" y="228"/>
                        <a:pt x="275" y="276"/>
                      </a:cubicBezTo>
                      <a:cubicBezTo>
                        <a:pt x="273" y="281"/>
                        <a:pt x="269" y="281"/>
                        <a:pt x="268" y="288"/>
                      </a:cubicBezTo>
                      <a:cubicBezTo>
                        <a:pt x="265" y="291"/>
                        <a:pt x="265" y="298"/>
                        <a:pt x="264" y="303"/>
                      </a:cubicBezTo>
                      <a:cubicBezTo>
                        <a:pt x="261" y="312"/>
                        <a:pt x="253" y="318"/>
                        <a:pt x="253" y="328"/>
                      </a:cubicBezTo>
                      <a:cubicBezTo>
                        <a:pt x="252" y="336"/>
                        <a:pt x="256" y="345"/>
                        <a:pt x="256" y="354"/>
                      </a:cubicBezTo>
                      <a:cubicBezTo>
                        <a:pt x="258" y="380"/>
                        <a:pt x="258" y="399"/>
                        <a:pt x="252" y="418"/>
                      </a:cubicBezTo>
                      <a:cubicBezTo>
                        <a:pt x="266" y="448"/>
                        <a:pt x="257" y="479"/>
                        <a:pt x="249" y="514"/>
                      </a:cubicBezTo>
                      <a:cubicBezTo>
                        <a:pt x="245" y="536"/>
                        <a:pt x="243" y="559"/>
                        <a:pt x="237" y="577"/>
                      </a:cubicBezTo>
                      <a:cubicBezTo>
                        <a:pt x="233" y="586"/>
                        <a:pt x="227" y="595"/>
                        <a:pt x="223" y="604"/>
                      </a:cubicBezTo>
                      <a:cubicBezTo>
                        <a:pt x="220" y="611"/>
                        <a:pt x="218" y="623"/>
                        <a:pt x="215" y="633"/>
                      </a:cubicBezTo>
                      <a:cubicBezTo>
                        <a:pt x="212" y="644"/>
                        <a:pt x="207" y="656"/>
                        <a:pt x="207" y="662"/>
                      </a:cubicBezTo>
                      <a:cubicBezTo>
                        <a:pt x="208" y="675"/>
                        <a:pt x="224" y="690"/>
                        <a:pt x="222" y="707"/>
                      </a:cubicBezTo>
                      <a:cubicBezTo>
                        <a:pt x="203" y="705"/>
                        <a:pt x="197" y="690"/>
                        <a:pt x="182" y="689"/>
                      </a:cubicBezTo>
                      <a:cubicBezTo>
                        <a:pt x="141" y="688"/>
                        <a:pt x="137" y="726"/>
                        <a:pt x="122" y="748"/>
                      </a:cubicBezTo>
                      <a:cubicBezTo>
                        <a:pt x="120" y="724"/>
                        <a:pt x="115" y="702"/>
                        <a:pt x="114" y="677"/>
                      </a:cubicBezTo>
                      <a:cubicBezTo>
                        <a:pt x="108" y="676"/>
                        <a:pt x="99" y="684"/>
                        <a:pt x="97" y="672"/>
                      </a:cubicBezTo>
                      <a:cubicBezTo>
                        <a:pt x="64" y="661"/>
                        <a:pt x="98" y="627"/>
                        <a:pt x="97" y="609"/>
                      </a:cubicBezTo>
                      <a:cubicBezTo>
                        <a:pt x="97" y="602"/>
                        <a:pt x="90" y="595"/>
                        <a:pt x="86" y="588"/>
                      </a:cubicBezTo>
                      <a:cubicBezTo>
                        <a:pt x="74" y="569"/>
                        <a:pt x="70" y="549"/>
                        <a:pt x="64" y="525"/>
                      </a:cubicBezTo>
                      <a:cubicBezTo>
                        <a:pt x="52" y="479"/>
                        <a:pt x="45" y="432"/>
                        <a:pt x="35" y="383"/>
                      </a:cubicBezTo>
                      <a:cubicBezTo>
                        <a:pt x="28" y="351"/>
                        <a:pt x="22" y="318"/>
                        <a:pt x="19" y="285"/>
                      </a:cubicBezTo>
                      <a:cubicBezTo>
                        <a:pt x="18" y="251"/>
                        <a:pt x="7" y="214"/>
                        <a:pt x="0" y="188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72" name="Freeform 179">
                  <a:extLst>
                    <a:ext uri="{FF2B5EF4-FFF2-40B4-BE49-F238E27FC236}">
                      <a16:creationId xmlns:a16="http://schemas.microsoft.com/office/drawing/2014/main" id="{DE84C9AB-5BF0-42F8-BBC2-DAB3216D89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4413" y="3113098"/>
                  <a:ext cx="452441" cy="569916"/>
                </a:xfrm>
                <a:custGeom>
                  <a:avLst/>
                  <a:gdLst>
                    <a:gd name="T0" fmla="*/ 0 w 285"/>
                    <a:gd name="T1" fmla="*/ 0 h 359"/>
                    <a:gd name="T2" fmla="*/ 14 w 285"/>
                    <a:gd name="T3" fmla="*/ 96 h 359"/>
                    <a:gd name="T4" fmla="*/ 108 w 285"/>
                    <a:gd name="T5" fmla="*/ 330 h 359"/>
                    <a:gd name="T6" fmla="*/ 285 w 285"/>
                    <a:gd name="T7" fmla="*/ 359 h 359"/>
                    <a:gd name="T8" fmla="*/ 285 w 285"/>
                    <a:gd name="T9" fmla="*/ 311 h 359"/>
                    <a:gd name="T10" fmla="*/ 0 w 285"/>
                    <a:gd name="T11" fmla="*/ 0 h 3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5" h="359">
                      <a:moveTo>
                        <a:pt x="0" y="0"/>
                      </a:moveTo>
                      <a:lnTo>
                        <a:pt x="14" y="96"/>
                      </a:lnTo>
                      <a:lnTo>
                        <a:pt x="108" y="330"/>
                      </a:lnTo>
                      <a:lnTo>
                        <a:pt x="285" y="359"/>
                      </a:lnTo>
                      <a:lnTo>
                        <a:pt x="285" y="3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73" name="Freeform 180">
                  <a:extLst>
                    <a:ext uri="{FF2B5EF4-FFF2-40B4-BE49-F238E27FC236}">
                      <a16:creationId xmlns:a16="http://schemas.microsoft.com/office/drawing/2014/main" id="{F59F36C3-596A-47BB-A9B2-77286E0028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5286" y="3146435"/>
                  <a:ext cx="592139" cy="619126"/>
                </a:xfrm>
                <a:custGeom>
                  <a:avLst/>
                  <a:gdLst>
                    <a:gd name="T0" fmla="*/ 158 w 158"/>
                    <a:gd name="T1" fmla="*/ 0 h 165"/>
                    <a:gd name="T2" fmla="*/ 158 w 158"/>
                    <a:gd name="T3" fmla="*/ 80 h 165"/>
                    <a:gd name="T4" fmla="*/ 113 w 158"/>
                    <a:gd name="T5" fmla="*/ 158 h 165"/>
                    <a:gd name="T6" fmla="*/ 23 w 158"/>
                    <a:gd name="T7" fmla="*/ 156 h 165"/>
                    <a:gd name="T8" fmla="*/ 0 w 158"/>
                    <a:gd name="T9" fmla="*/ 148 h 165"/>
                    <a:gd name="T10" fmla="*/ 87 w 158"/>
                    <a:gd name="T11" fmla="*/ 137 h 165"/>
                    <a:gd name="T12" fmla="*/ 158 w 158"/>
                    <a:gd name="T13" fmla="*/ 0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8" h="165">
                      <a:moveTo>
                        <a:pt x="158" y="0"/>
                      </a:moveTo>
                      <a:cubicBezTo>
                        <a:pt x="158" y="80"/>
                        <a:pt x="158" y="80"/>
                        <a:pt x="158" y="80"/>
                      </a:cubicBezTo>
                      <a:cubicBezTo>
                        <a:pt x="158" y="80"/>
                        <a:pt x="139" y="165"/>
                        <a:pt x="113" y="158"/>
                      </a:cubicBezTo>
                      <a:cubicBezTo>
                        <a:pt x="87" y="152"/>
                        <a:pt x="26" y="157"/>
                        <a:pt x="23" y="156"/>
                      </a:cubicBezTo>
                      <a:cubicBezTo>
                        <a:pt x="20" y="156"/>
                        <a:pt x="0" y="148"/>
                        <a:pt x="0" y="148"/>
                      </a:cubicBezTo>
                      <a:cubicBezTo>
                        <a:pt x="0" y="148"/>
                        <a:pt x="82" y="138"/>
                        <a:pt x="87" y="137"/>
                      </a:cubicBezTo>
                      <a:cubicBezTo>
                        <a:pt x="92" y="136"/>
                        <a:pt x="158" y="0"/>
                        <a:pt x="158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74" name="Freeform 181">
                  <a:extLst>
                    <a:ext uri="{FF2B5EF4-FFF2-40B4-BE49-F238E27FC236}">
                      <a16:creationId xmlns:a16="http://schemas.microsoft.com/office/drawing/2014/main" id="{E5D484B0-82C1-4AF0-88A0-4DC6B800E3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9813" y="3446473"/>
                  <a:ext cx="63501" cy="423863"/>
                </a:xfrm>
                <a:custGeom>
                  <a:avLst/>
                  <a:gdLst>
                    <a:gd name="T0" fmla="*/ 0 w 40"/>
                    <a:gd name="T1" fmla="*/ 0 h 267"/>
                    <a:gd name="T2" fmla="*/ 0 w 40"/>
                    <a:gd name="T3" fmla="*/ 267 h 267"/>
                    <a:gd name="T4" fmla="*/ 40 w 40"/>
                    <a:gd name="T5" fmla="*/ 260 h 267"/>
                    <a:gd name="T6" fmla="*/ 0 w 40"/>
                    <a:gd name="T7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0" h="267">
                      <a:moveTo>
                        <a:pt x="0" y="0"/>
                      </a:moveTo>
                      <a:lnTo>
                        <a:pt x="0" y="267"/>
                      </a:lnTo>
                      <a:lnTo>
                        <a:pt x="40" y="2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75" name="Freeform 182">
                  <a:extLst>
                    <a:ext uri="{FF2B5EF4-FFF2-40B4-BE49-F238E27FC236}">
                      <a16:creationId xmlns:a16="http://schemas.microsoft.com/office/drawing/2014/main" id="{ACCF0707-703B-4D32-95F2-BF43D4A992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48036" y="3884623"/>
                  <a:ext cx="217490" cy="1497016"/>
                </a:xfrm>
                <a:custGeom>
                  <a:avLst/>
                  <a:gdLst>
                    <a:gd name="T0" fmla="*/ 58 w 58"/>
                    <a:gd name="T1" fmla="*/ 0 h 399"/>
                    <a:gd name="T2" fmla="*/ 6 w 58"/>
                    <a:gd name="T3" fmla="*/ 369 h 399"/>
                    <a:gd name="T4" fmla="*/ 0 w 58"/>
                    <a:gd name="T5" fmla="*/ 399 h 399"/>
                    <a:gd name="T6" fmla="*/ 34 w 58"/>
                    <a:gd name="T7" fmla="*/ 312 h 399"/>
                    <a:gd name="T8" fmla="*/ 29 w 58"/>
                    <a:gd name="T9" fmla="*/ 255 h 399"/>
                    <a:gd name="T10" fmla="*/ 48 w 58"/>
                    <a:gd name="T11" fmla="*/ 139 h 399"/>
                    <a:gd name="T12" fmla="*/ 58 w 5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399">
                      <a:moveTo>
                        <a:pt x="58" y="0"/>
                      </a:moveTo>
                      <a:cubicBezTo>
                        <a:pt x="6" y="369"/>
                        <a:pt x="6" y="369"/>
                        <a:pt x="6" y="369"/>
                      </a:cubicBezTo>
                      <a:cubicBezTo>
                        <a:pt x="0" y="399"/>
                        <a:pt x="0" y="399"/>
                        <a:pt x="0" y="399"/>
                      </a:cubicBezTo>
                      <a:cubicBezTo>
                        <a:pt x="0" y="399"/>
                        <a:pt x="36" y="342"/>
                        <a:pt x="34" y="312"/>
                      </a:cubicBezTo>
                      <a:cubicBezTo>
                        <a:pt x="32" y="282"/>
                        <a:pt x="28" y="282"/>
                        <a:pt x="29" y="255"/>
                      </a:cubicBezTo>
                      <a:cubicBezTo>
                        <a:pt x="31" y="227"/>
                        <a:pt x="46" y="145"/>
                        <a:pt x="48" y="139"/>
                      </a:cubicBezTo>
                      <a:cubicBezTo>
                        <a:pt x="50" y="132"/>
                        <a:pt x="58" y="0"/>
                        <a:pt x="58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76" name="Freeform 183">
                  <a:extLst>
                    <a:ext uri="{FF2B5EF4-FFF2-40B4-BE49-F238E27FC236}">
                      <a16:creationId xmlns:a16="http://schemas.microsoft.com/office/drawing/2014/main" id="{34B79518-5750-4CE0-A815-DBBC8E6DF9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33802" y="4038612"/>
                  <a:ext cx="231777" cy="385763"/>
                </a:xfrm>
                <a:custGeom>
                  <a:avLst/>
                  <a:gdLst>
                    <a:gd name="T0" fmla="*/ 62 w 62"/>
                    <a:gd name="T1" fmla="*/ 0 h 103"/>
                    <a:gd name="T2" fmla="*/ 35 w 62"/>
                    <a:gd name="T3" fmla="*/ 31 h 103"/>
                    <a:gd name="T4" fmla="*/ 27 w 62"/>
                    <a:gd name="T5" fmla="*/ 66 h 103"/>
                    <a:gd name="T6" fmla="*/ 6 w 62"/>
                    <a:gd name="T7" fmla="*/ 79 h 103"/>
                    <a:gd name="T8" fmla="*/ 23 w 62"/>
                    <a:gd name="T9" fmla="*/ 30 h 103"/>
                    <a:gd name="T10" fmla="*/ 62 w 62"/>
                    <a:gd name="T1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2" h="103">
                      <a:moveTo>
                        <a:pt x="62" y="0"/>
                      </a:moveTo>
                      <a:cubicBezTo>
                        <a:pt x="62" y="0"/>
                        <a:pt x="37" y="20"/>
                        <a:pt x="35" y="31"/>
                      </a:cubicBezTo>
                      <a:cubicBezTo>
                        <a:pt x="33" y="42"/>
                        <a:pt x="25" y="75"/>
                        <a:pt x="27" y="66"/>
                      </a:cubicBezTo>
                      <a:cubicBezTo>
                        <a:pt x="28" y="58"/>
                        <a:pt x="0" y="103"/>
                        <a:pt x="6" y="79"/>
                      </a:cubicBezTo>
                      <a:cubicBezTo>
                        <a:pt x="12" y="55"/>
                        <a:pt x="14" y="48"/>
                        <a:pt x="23" y="30"/>
                      </a:cubicBezTo>
                      <a:cubicBezTo>
                        <a:pt x="33" y="12"/>
                        <a:pt x="62" y="0"/>
                        <a:pt x="62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77" name="Freeform 184">
                  <a:extLst>
                    <a:ext uri="{FF2B5EF4-FFF2-40B4-BE49-F238E27FC236}">
                      <a16:creationId xmlns:a16="http://schemas.microsoft.com/office/drawing/2014/main" id="{F8BC1698-D619-44DA-88AF-38A725E890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5862" y="4581537"/>
                  <a:ext cx="153989" cy="434977"/>
                </a:xfrm>
                <a:custGeom>
                  <a:avLst/>
                  <a:gdLst>
                    <a:gd name="T0" fmla="*/ 41 w 41"/>
                    <a:gd name="T1" fmla="*/ 0 h 116"/>
                    <a:gd name="T2" fmla="*/ 25 w 41"/>
                    <a:gd name="T3" fmla="*/ 47 h 116"/>
                    <a:gd name="T4" fmla="*/ 7 w 41"/>
                    <a:gd name="T5" fmla="*/ 85 h 116"/>
                    <a:gd name="T6" fmla="*/ 36 w 41"/>
                    <a:gd name="T7" fmla="*/ 0 h 116"/>
                    <a:gd name="T8" fmla="*/ 41 w 41"/>
                    <a:gd name="T9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116">
                      <a:moveTo>
                        <a:pt x="41" y="0"/>
                      </a:moveTo>
                      <a:cubicBezTo>
                        <a:pt x="38" y="8"/>
                        <a:pt x="33" y="18"/>
                        <a:pt x="25" y="47"/>
                      </a:cubicBezTo>
                      <a:cubicBezTo>
                        <a:pt x="17" y="75"/>
                        <a:pt x="0" y="116"/>
                        <a:pt x="7" y="85"/>
                      </a:cubicBezTo>
                      <a:cubicBezTo>
                        <a:pt x="15" y="53"/>
                        <a:pt x="31" y="0"/>
                        <a:pt x="36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78" name="Freeform 185">
                  <a:extLst>
                    <a:ext uri="{FF2B5EF4-FFF2-40B4-BE49-F238E27FC236}">
                      <a16:creationId xmlns:a16="http://schemas.microsoft.com/office/drawing/2014/main" id="{20054A22-4E84-41E6-A3E0-A9F97E58F6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55988" y="5470541"/>
                  <a:ext cx="274638" cy="165099"/>
                </a:xfrm>
                <a:custGeom>
                  <a:avLst/>
                  <a:gdLst>
                    <a:gd name="T0" fmla="*/ 0 w 73"/>
                    <a:gd name="T1" fmla="*/ 41 h 44"/>
                    <a:gd name="T2" fmla="*/ 37 w 73"/>
                    <a:gd name="T3" fmla="*/ 29 h 44"/>
                    <a:gd name="T4" fmla="*/ 68 w 73"/>
                    <a:gd name="T5" fmla="*/ 29 h 44"/>
                    <a:gd name="T6" fmla="*/ 50 w 73"/>
                    <a:gd name="T7" fmla="*/ 0 h 44"/>
                    <a:gd name="T8" fmla="*/ 0 w 73"/>
                    <a:gd name="T9" fmla="*/ 41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4">
                      <a:moveTo>
                        <a:pt x="0" y="41"/>
                      </a:moveTo>
                      <a:cubicBezTo>
                        <a:pt x="0" y="41"/>
                        <a:pt x="8" y="27"/>
                        <a:pt x="37" y="29"/>
                      </a:cubicBezTo>
                      <a:cubicBezTo>
                        <a:pt x="65" y="31"/>
                        <a:pt x="66" y="44"/>
                        <a:pt x="68" y="29"/>
                      </a:cubicBezTo>
                      <a:cubicBezTo>
                        <a:pt x="70" y="14"/>
                        <a:pt x="73" y="0"/>
                        <a:pt x="50" y="0"/>
                      </a:cubicBezTo>
                      <a:cubicBezTo>
                        <a:pt x="27" y="0"/>
                        <a:pt x="0" y="41"/>
                        <a:pt x="0" y="41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79" name="Freeform 186">
                  <a:extLst>
                    <a:ext uri="{FF2B5EF4-FFF2-40B4-BE49-F238E27FC236}">
                      <a16:creationId xmlns:a16="http://schemas.microsoft.com/office/drawing/2014/main" id="{08D5D918-A5BB-4435-A966-2C889464E9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9451" y="5111766"/>
                  <a:ext cx="139699" cy="265114"/>
                </a:xfrm>
                <a:custGeom>
                  <a:avLst/>
                  <a:gdLst>
                    <a:gd name="T0" fmla="*/ 16 w 37"/>
                    <a:gd name="T1" fmla="*/ 2 h 71"/>
                    <a:gd name="T2" fmla="*/ 31 w 37"/>
                    <a:gd name="T3" fmla="*/ 31 h 71"/>
                    <a:gd name="T4" fmla="*/ 24 w 37"/>
                    <a:gd name="T5" fmla="*/ 42 h 71"/>
                    <a:gd name="T6" fmla="*/ 3 w 37"/>
                    <a:gd name="T7" fmla="*/ 7 h 71"/>
                    <a:gd name="T8" fmla="*/ 16 w 37"/>
                    <a:gd name="T9" fmla="*/ 2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71">
                      <a:moveTo>
                        <a:pt x="16" y="2"/>
                      </a:moveTo>
                      <a:cubicBezTo>
                        <a:pt x="24" y="6"/>
                        <a:pt x="32" y="19"/>
                        <a:pt x="31" y="31"/>
                      </a:cubicBezTo>
                      <a:cubicBezTo>
                        <a:pt x="30" y="43"/>
                        <a:pt x="37" y="71"/>
                        <a:pt x="24" y="42"/>
                      </a:cubicBezTo>
                      <a:cubicBezTo>
                        <a:pt x="11" y="14"/>
                        <a:pt x="0" y="14"/>
                        <a:pt x="3" y="7"/>
                      </a:cubicBezTo>
                      <a:cubicBezTo>
                        <a:pt x="6" y="0"/>
                        <a:pt x="16" y="2"/>
                        <a:pt x="16" y="2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80" name="Freeform 187">
                  <a:extLst>
                    <a:ext uri="{FF2B5EF4-FFF2-40B4-BE49-F238E27FC236}">
                      <a16:creationId xmlns:a16="http://schemas.microsoft.com/office/drawing/2014/main" id="{B67FB81C-F4EA-4F96-A917-5323976D7F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7834" y="4159261"/>
                  <a:ext cx="322265" cy="741365"/>
                </a:xfrm>
                <a:custGeom>
                  <a:avLst/>
                  <a:gdLst>
                    <a:gd name="T0" fmla="*/ 0 w 86"/>
                    <a:gd name="T1" fmla="*/ 0 h 198"/>
                    <a:gd name="T2" fmla="*/ 38 w 86"/>
                    <a:gd name="T3" fmla="*/ 16 h 198"/>
                    <a:gd name="T4" fmla="*/ 51 w 86"/>
                    <a:gd name="T5" fmla="*/ 54 h 198"/>
                    <a:gd name="T6" fmla="*/ 36 w 86"/>
                    <a:gd name="T7" fmla="*/ 54 h 198"/>
                    <a:gd name="T8" fmla="*/ 70 w 86"/>
                    <a:gd name="T9" fmla="*/ 161 h 198"/>
                    <a:gd name="T10" fmla="*/ 37 w 86"/>
                    <a:gd name="T11" fmla="*/ 132 h 198"/>
                    <a:gd name="T12" fmla="*/ 36 w 86"/>
                    <a:gd name="T13" fmla="*/ 198 h 198"/>
                    <a:gd name="T14" fmla="*/ 16 w 86"/>
                    <a:gd name="T15" fmla="*/ 96 h 198"/>
                    <a:gd name="T16" fmla="*/ 0 w 86"/>
                    <a:gd name="T17" fmla="*/ 28 h 198"/>
                    <a:gd name="T18" fmla="*/ 0 w 86"/>
                    <a:gd name="T19" fmla="*/ 0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6" h="198">
                      <a:moveTo>
                        <a:pt x="0" y="0"/>
                      </a:moveTo>
                      <a:cubicBezTo>
                        <a:pt x="0" y="0"/>
                        <a:pt x="32" y="2"/>
                        <a:pt x="38" y="16"/>
                      </a:cubicBezTo>
                      <a:cubicBezTo>
                        <a:pt x="44" y="31"/>
                        <a:pt x="66" y="67"/>
                        <a:pt x="51" y="54"/>
                      </a:cubicBezTo>
                      <a:cubicBezTo>
                        <a:pt x="36" y="41"/>
                        <a:pt x="17" y="24"/>
                        <a:pt x="36" y="54"/>
                      </a:cubicBezTo>
                      <a:cubicBezTo>
                        <a:pt x="54" y="84"/>
                        <a:pt x="86" y="181"/>
                        <a:pt x="70" y="161"/>
                      </a:cubicBezTo>
                      <a:cubicBezTo>
                        <a:pt x="55" y="141"/>
                        <a:pt x="39" y="108"/>
                        <a:pt x="37" y="132"/>
                      </a:cubicBezTo>
                      <a:cubicBezTo>
                        <a:pt x="36" y="156"/>
                        <a:pt x="36" y="198"/>
                        <a:pt x="36" y="198"/>
                      </a:cubicBezTo>
                      <a:cubicBezTo>
                        <a:pt x="16" y="96"/>
                        <a:pt x="16" y="96"/>
                        <a:pt x="16" y="96"/>
                      </a:cubicBezTo>
                      <a:cubicBezTo>
                        <a:pt x="0" y="28"/>
                        <a:pt x="0" y="28"/>
                        <a:pt x="0" y="2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81" name="Freeform 157">
                  <a:extLst>
                    <a:ext uri="{FF2B5EF4-FFF2-40B4-BE49-F238E27FC236}">
                      <a16:creationId xmlns:a16="http://schemas.microsoft.com/office/drawing/2014/main" id="{AA405CE9-C13E-4BDC-9CAD-F53EABFBB2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5160" y="960441"/>
                  <a:ext cx="584203" cy="1049339"/>
                </a:xfrm>
                <a:custGeom>
                  <a:avLst/>
                  <a:gdLst>
                    <a:gd name="T0" fmla="*/ 0 w 156"/>
                    <a:gd name="T1" fmla="*/ 112 h 280"/>
                    <a:gd name="T2" fmla="*/ 0 w 156"/>
                    <a:gd name="T3" fmla="*/ 104 h 280"/>
                    <a:gd name="T4" fmla="*/ 11 w 156"/>
                    <a:gd name="T5" fmla="*/ 96 h 280"/>
                    <a:gd name="T6" fmla="*/ 4 w 156"/>
                    <a:gd name="T7" fmla="*/ 46 h 280"/>
                    <a:gd name="T8" fmla="*/ 28 w 156"/>
                    <a:gd name="T9" fmla="*/ 22 h 280"/>
                    <a:gd name="T10" fmla="*/ 59 w 156"/>
                    <a:gd name="T11" fmla="*/ 4 h 280"/>
                    <a:gd name="T12" fmla="*/ 108 w 156"/>
                    <a:gd name="T13" fmla="*/ 6 h 280"/>
                    <a:gd name="T14" fmla="*/ 138 w 156"/>
                    <a:gd name="T15" fmla="*/ 93 h 280"/>
                    <a:gd name="T16" fmla="*/ 143 w 156"/>
                    <a:gd name="T17" fmla="*/ 99 h 280"/>
                    <a:gd name="T18" fmla="*/ 131 w 156"/>
                    <a:gd name="T19" fmla="*/ 140 h 280"/>
                    <a:gd name="T20" fmla="*/ 122 w 156"/>
                    <a:gd name="T21" fmla="*/ 147 h 280"/>
                    <a:gd name="T22" fmla="*/ 114 w 156"/>
                    <a:gd name="T23" fmla="*/ 215 h 280"/>
                    <a:gd name="T24" fmla="*/ 80 w 156"/>
                    <a:gd name="T25" fmla="*/ 280 h 280"/>
                    <a:gd name="T26" fmla="*/ 56 w 156"/>
                    <a:gd name="T27" fmla="*/ 267 h 280"/>
                    <a:gd name="T28" fmla="*/ 44 w 156"/>
                    <a:gd name="T29" fmla="*/ 241 h 280"/>
                    <a:gd name="T30" fmla="*/ 24 w 156"/>
                    <a:gd name="T31" fmla="*/ 188 h 280"/>
                    <a:gd name="T32" fmla="*/ 24 w 156"/>
                    <a:gd name="T33" fmla="*/ 150 h 280"/>
                    <a:gd name="T34" fmla="*/ 12 w 156"/>
                    <a:gd name="T35" fmla="*/ 137 h 280"/>
                    <a:gd name="T36" fmla="*/ 0 w 156"/>
                    <a:gd name="T37" fmla="*/ 112 h 2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6" h="280">
                      <a:moveTo>
                        <a:pt x="0" y="112"/>
                      </a:moveTo>
                      <a:cubicBezTo>
                        <a:pt x="0" y="109"/>
                        <a:pt x="0" y="107"/>
                        <a:pt x="0" y="104"/>
                      </a:cubicBezTo>
                      <a:cubicBezTo>
                        <a:pt x="3" y="101"/>
                        <a:pt x="3" y="94"/>
                        <a:pt x="11" y="96"/>
                      </a:cubicBezTo>
                      <a:cubicBezTo>
                        <a:pt x="6" y="80"/>
                        <a:pt x="6" y="64"/>
                        <a:pt x="4" y="46"/>
                      </a:cubicBezTo>
                      <a:cubicBezTo>
                        <a:pt x="8" y="36"/>
                        <a:pt x="19" y="30"/>
                        <a:pt x="28" y="22"/>
                      </a:cubicBezTo>
                      <a:cubicBezTo>
                        <a:pt x="38" y="16"/>
                        <a:pt x="47" y="7"/>
                        <a:pt x="59" y="4"/>
                      </a:cubicBezTo>
                      <a:cubicBezTo>
                        <a:pt x="72" y="0"/>
                        <a:pt x="89" y="6"/>
                        <a:pt x="108" y="6"/>
                      </a:cubicBezTo>
                      <a:cubicBezTo>
                        <a:pt x="134" y="19"/>
                        <a:pt x="156" y="55"/>
                        <a:pt x="138" y="93"/>
                      </a:cubicBezTo>
                      <a:cubicBezTo>
                        <a:pt x="137" y="97"/>
                        <a:pt x="145" y="96"/>
                        <a:pt x="143" y="99"/>
                      </a:cubicBezTo>
                      <a:cubicBezTo>
                        <a:pt x="149" y="115"/>
                        <a:pt x="135" y="128"/>
                        <a:pt x="131" y="140"/>
                      </a:cubicBezTo>
                      <a:cubicBezTo>
                        <a:pt x="130" y="142"/>
                        <a:pt x="126" y="146"/>
                        <a:pt x="122" y="147"/>
                      </a:cubicBezTo>
                      <a:cubicBezTo>
                        <a:pt x="122" y="170"/>
                        <a:pt x="121" y="196"/>
                        <a:pt x="114" y="215"/>
                      </a:cubicBezTo>
                      <a:cubicBezTo>
                        <a:pt x="108" y="240"/>
                        <a:pt x="102" y="273"/>
                        <a:pt x="80" y="280"/>
                      </a:cubicBezTo>
                      <a:cubicBezTo>
                        <a:pt x="72" y="274"/>
                        <a:pt x="61" y="274"/>
                        <a:pt x="56" y="267"/>
                      </a:cubicBezTo>
                      <a:cubicBezTo>
                        <a:pt x="51" y="260"/>
                        <a:pt x="48" y="249"/>
                        <a:pt x="44" y="241"/>
                      </a:cubicBezTo>
                      <a:cubicBezTo>
                        <a:pt x="38" y="226"/>
                        <a:pt x="27" y="204"/>
                        <a:pt x="24" y="188"/>
                      </a:cubicBezTo>
                      <a:cubicBezTo>
                        <a:pt x="22" y="175"/>
                        <a:pt x="27" y="161"/>
                        <a:pt x="24" y="150"/>
                      </a:cubicBezTo>
                      <a:cubicBezTo>
                        <a:pt x="22" y="140"/>
                        <a:pt x="18" y="144"/>
                        <a:pt x="12" y="137"/>
                      </a:cubicBezTo>
                      <a:cubicBezTo>
                        <a:pt x="7" y="130"/>
                        <a:pt x="4" y="118"/>
                        <a:pt x="0" y="112"/>
                      </a:cubicBezTo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82" name="Freeform 158">
                  <a:extLst>
                    <a:ext uri="{FF2B5EF4-FFF2-40B4-BE49-F238E27FC236}">
                      <a16:creationId xmlns:a16="http://schemas.microsoft.com/office/drawing/2014/main" id="{88EF18A4-ADF5-443F-AD62-3B1EE02C68D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49535" y="3479810"/>
                  <a:ext cx="255587" cy="434977"/>
                </a:xfrm>
                <a:custGeom>
                  <a:avLst/>
                  <a:gdLst>
                    <a:gd name="T0" fmla="*/ 63 w 68"/>
                    <a:gd name="T1" fmla="*/ 116 h 116"/>
                    <a:gd name="T2" fmla="*/ 60 w 68"/>
                    <a:gd name="T3" fmla="*/ 116 h 116"/>
                    <a:gd name="T4" fmla="*/ 16 w 68"/>
                    <a:gd name="T5" fmla="*/ 98 h 116"/>
                    <a:gd name="T6" fmla="*/ 0 w 68"/>
                    <a:gd name="T7" fmla="*/ 23 h 116"/>
                    <a:gd name="T8" fmla="*/ 55 w 68"/>
                    <a:gd name="T9" fmla="*/ 16 h 116"/>
                    <a:gd name="T10" fmla="*/ 68 w 68"/>
                    <a:gd name="T11" fmla="*/ 91 h 116"/>
                    <a:gd name="T12" fmla="*/ 62 w 68"/>
                    <a:gd name="T13" fmla="*/ 103 h 116"/>
                    <a:gd name="T14" fmla="*/ 63 w 68"/>
                    <a:gd name="T15" fmla="*/ 116 h 116"/>
                    <a:gd name="T16" fmla="*/ 38 w 68"/>
                    <a:gd name="T17" fmla="*/ 65 h 116"/>
                    <a:gd name="T18" fmla="*/ 54 w 68"/>
                    <a:gd name="T19" fmla="*/ 91 h 116"/>
                    <a:gd name="T20" fmla="*/ 44 w 68"/>
                    <a:gd name="T21" fmla="*/ 60 h 116"/>
                    <a:gd name="T22" fmla="*/ 38 w 68"/>
                    <a:gd name="T23" fmla="*/ 65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8" h="116">
                      <a:moveTo>
                        <a:pt x="63" y="116"/>
                      </a:moveTo>
                      <a:cubicBezTo>
                        <a:pt x="62" y="116"/>
                        <a:pt x="60" y="116"/>
                        <a:pt x="60" y="116"/>
                      </a:cubicBezTo>
                      <a:cubicBezTo>
                        <a:pt x="46" y="108"/>
                        <a:pt x="26" y="108"/>
                        <a:pt x="16" y="98"/>
                      </a:cubicBezTo>
                      <a:cubicBezTo>
                        <a:pt x="0" y="81"/>
                        <a:pt x="0" y="56"/>
                        <a:pt x="0" y="23"/>
                      </a:cubicBezTo>
                      <a:cubicBezTo>
                        <a:pt x="12" y="8"/>
                        <a:pt x="40" y="0"/>
                        <a:pt x="55" y="16"/>
                      </a:cubicBezTo>
                      <a:cubicBezTo>
                        <a:pt x="60" y="40"/>
                        <a:pt x="62" y="69"/>
                        <a:pt x="68" y="91"/>
                      </a:cubicBezTo>
                      <a:cubicBezTo>
                        <a:pt x="68" y="98"/>
                        <a:pt x="59" y="95"/>
                        <a:pt x="62" y="103"/>
                      </a:cubicBezTo>
                      <a:cubicBezTo>
                        <a:pt x="66" y="106"/>
                        <a:pt x="67" y="110"/>
                        <a:pt x="63" y="116"/>
                      </a:cubicBezTo>
                      <a:close/>
                      <a:moveTo>
                        <a:pt x="38" y="65"/>
                      </a:moveTo>
                      <a:cubicBezTo>
                        <a:pt x="40" y="75"/>
                        <a:pt x="38" y="93"/>
                        <a:pt x="54" y="91"/>
                      </a:cubicBezTo>
                      <a:cubicBezTo>
                        <a:pt x="47" y="85"/>
                        <a:pt x="50" y="69"/>
                        <a:pt x="44" y="60"/>
                      </a:cubicBezTo>
                      <a:cubicBezTo>
                        <a:pt x="43" y="64"/>
                        <a:pt x="38" y="61"/>
                        <a:pt x="38" y="6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83" name="Freeform 161">
                  <a:extLst>
                    <a:ext uri="{FF2B5EF4-FFF2-40B4-BE49-F238E27FC236}">
                      <a16:creationId xmlns:a16="http://schemas.microsoft.com/office/drawing/2014/main" id="{2587EF49-422E-415C-84F5-88C389EA49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9451" y="1695456"/>
                  <a:ext cx="525465" cy="1109667"/>
                </a:xfrm>
                <a:custGeom>
                  <a:avLst/>
                  <a:gdLst>
                    <a:gd name="T0" fmla="*/ 139 w 140"/>
                    <a:gd name="T1" fmla="*/ 64 h 296"/>
                    <a:gd name="T2" fmla="*/ 139 w 140"/>
                    <a:gd name="T3" fmla="*/ 71 h 296"/>
                    <a:gd name="T4" fmla="*/ 138 w 140"/>
                    <a:gd name="T5" fmla="*/ 71 h 296"/>
                    <a:gd name="T6" fmla="*/ 93 w 140"/>
                    <a:gd name="T7" fmla="*/ 296 h 296"/>
                    <a:gd name="T8" fmla="*/ 84 w 140"/>
                    <a:gd name="T9" fmla="*/ 296 h 296"/>
                    <a:gd name="T10" fmla="*/ 75 w 140"/>
                    <a:gd name="T11" fmla="*/ 294 h 296"/>
                    <a:gd name="T12" fmla="*/ 63 w 140"/>
                    <a:gd name="T13" fmla="*/ 261 h 296"/>
                    <a:gd name="T14" fmla="*/ 33 w 140"/>
                    <a:gd name="T15" fmla="*/ 170 h 296"/>
                    <a:gd name="T16" fmla="*/ 0 w 140"/>
                    <a:gd name="T17" fmla="*/ 34 h 296"/>
                    <a:gd name="T18" fmla="*/ 0 w 140"/>
                    <a:gd name="T19" fmla="*/ 27 h 296"/>
                    <a:gd name="T20" fmla="*/ 16 w 140"/>
                    <a:gd name="T21" fmla="*/ 0 h 296"/>
                    <a:gd name="T22" fmla="*/ 67 w 140"/>
                    <a:gd name="T23" fmla="*/ 34 h 296"/>
                    <a:gd name="T24" fmla="*/ 70 w 140"/>
                    <a:gd name="T25" fmla="*/ 68 h 296"/>
                    <a:gd name="T26" fmla="*/ 81 w 140"/>
                    <a:gd name="T27" fmla="*/ 61 h 296"/>
                    <a:gd name="T28" fmla="*/ 76 w 140"/>
                    <a:gd name="T29" fmla="*/ 43 h 296"/>
                    <a:gd name="T30" fmla="*/ 110 w 140"/>
                    <a:gd name="T31" fmla="*/ 11 h 296"/>
                    <a:gd name="T32" fmla="*/ 121 w 140"/>
                    <a:gd name="T33" fmla="*/ 3 h 296"/>
                    <a:gd name="T34" fmla="*/ 139 w 140"/>
                    <a:gd name="T35" fmla="*/ 64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40" h="296">
                      <a:moveTo>
                        <a:pt x="139" y="64"/>
                      </a:moveTo>
                      <a:cubicBezTo>
                        <a:pt x="139" y="67"/>
                        <a:pt x="139" y="68"/>
                        <a:pt x="139" y="71"/>
                      </a:cubicBezTo>
                      <a:cubicBezTo>
                        <a:pt x="138" y="71"/>
                        <a:pt x="138" y="71"/>
                        <a:pt x="138" y="71"/>
                      </a:cubicBezTo>
                      <a:cubicBezTo>
                        <a:pt x="125" y="148"/>
                        <a:pt x="108" y="221"/>
                        <a:pt x="93" y="296"/>
                      </a:cubicBezTo>
                      <a:cubicBezTo>
                        <a:pt x="90" y="296"/>
                        <a:pt x="87" y="296"/>
                        <a:pt x="84" y="296"/>
                      </a:cubicBezTo>
                      <a:cubicBezTo>
                        <a:pt x="85" y="294"/>
                        <a:pt x="78" y="296"/>
                        <a:pt x="75" y="294"/>
                      </a:cubicBezTo>
                      <a:cubicBezTo>
                        <a:pt x="72" y="291"/>
                        <a:pt x="67" y="273"/>
                        <a:pt x="63" y="261"/>
                      </a:cubicBezTo>
                      <a:cubicBezTo>
                        <a:pt x="53" y="231"/>
                        <a:pt x="42" y="201"/>
                        <a:pt x="33" y="170"/>
                      </a:cubicBezTo>
                      <a:cubicBezTo>
                        <a:pt x="18" y="118"/>
                        <a:pt x="8" y="74"/>
                        <a:pt x="0" y="34"/>
                      </a:cubicBezTo>
                      <a:cubicBezTo>
                        <a:pt x="0" y="32"/>
                        <a:pt x="0" y="29"/>
                        <a:pt x="0" y="27"/>
                      </a:cubicBezTo>
                      <a:cubicBezTo>
                        <a:pt x="3" y="16"/>
                        <a:pt x="3" y="0"/>
                        <a:pt x="16" y="0"/>
                      </a:cubicBezTo>
                      <a:cubicBezTo>
                        <a:pt x="31" y="13"/>
                        <a:pt x="49" y="23"/>
                        <a:pt x="67" y="34"/>
                      </a:cubicBezTo>
                      <a:cubicBezTo>
                        <a:pt x="74" y="43"/>
                        <a:pt x="71" y="56"/>
                        <a:pt x="70" y="68"/>
                      </a:cubicBezTo>
                      <a:cubicBezTo>
                        <a:pt x="75" y="68"/>
                        <a:pt x="80" y="64"/>
                        <a:pt x="81" y="61"/>
                      </a:cubicBezTo>
                      <a:cubicBezTo>
                        <a:pt x="80" y="62"/>
                        <a:pt x="72" y="49"/>
                        <a:pt x="76" y="43"/>
                      </a:cubicBezTo>
                      <a:cubicBezTo>
                        <a:pt x="87" y="33"/>
                        <a:pt x="98" y="22"/>
                        <a:pt x="110" y="11"/>
                      </a:cubicBezTo>
                      <a:cubicBezTo>
                        <a:pt x="114" y="8"/>
                        <a:pt x="116" y="0"/>
                        <a:pt x="121" y="3"/>
                      </a:cubicBezTo>
                      <a:cubicBezTo>
                        <a:pt x="140" y="11"/>
                        <a:pt x="134" y="43"/>
                        <a:pt x="139" y="64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84" name="Freeform 162">
                  <a:extLst>
                    <a:ext uri="{FF2B5EF4-FFF2-40B4-BE49-F238E27FC236}">
                      <a16:creationId xmlns:a16="http://schemas.microsoft.com/office/drawing/2014/main" id="{FE57AB67-44B6-4C39-87A4-6D9185E556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19371" y="1709743"/>
                  <a:ext cx="1695457" cy="2039945"/>
                </a:xfrm>
                <a:custGeom>
                  <a:avLst/>
                  <a:gdLst>
                    <a:gd name="T0" fmla="*/ 289 w 452"/>
                    <a:gd name="T1" fmla="*/ 0 h 544"/>
                    <a:gd name="T2" fmla="*/ 293 w 452"/>
                    <a:gd name="T3" fmla="*/ 0 h 544"/>
                    <a:gd name="T4" fmla="*/ 403 w 452"/>
                    <a:gd name="T5" fmla="*/ 35 h 544"/>
                    <a:gd name="T6" fmla="*/ 413 w 452"/>
                    <a:gd name="T7" fmla="*/ 78 h 544"/>
                    <a:gd name="T8" fmla="*/ 414 w 452"/>
                    <a:gd name="T9" fmla="*/ 130 h 544"/>
                    <a:gd name="T10" fmla="*/ 421 w 452"/>
                    <a:gd name="T11" fmla="*/ 163 h 544"/>
                    <a:gd name="T12" fmla="*/ 424 w 452"/>
                    <a:gd name="T13" fmla="*/ 225 h 544"/>
                    <a:gd name="T14" fmla="*/ 446 w 452"/>
                    <a:gd name="T15" fmla="*/ 341 h 544"/>
                    <a:gd name="T16" fmla="*/ 452 w 452"/>
                    <a:gd name="T17" fmla="*/ 475 h 544"/>
                    <a:gd name="T18" fmla="*/ 439 w 452"/>
                    <a:gd name="T19" fmla="*/ 471 h 544"/>
                    <a:gd name="T20" fmla="*/ 395 w 452"/>
                    <a:gd name="T21" fmla="*/ 476 h 544"/>
                    <a:gd name="T22" fmla="*/ 395 w 452"/>
                    <a:gd name="T23" fmla="*/ 513 h 544"/>
                    <a:gd name="T24" fmla="*/ 340 w 452"/>
                    <a:gd name="T25" fmla="*/ 517 h 544"/>
                    <a:gd name="T26" fmla="*/ 289 w 452"/>
                    <a:gd name="T27" fmla="*/ 470 h 544"/>
                    <a:gd name="T28" fmla="*/ 248 w 452"/>
                    <a:gd name="T29" fmla="*/ 372 h 544"/>
                    <a:gd name="T30" fmla="*/ 206 w 452"/>
                    <a:gd name="T31" fmla="*/ 527 h 544"/>
                    <a:gd name="T32" fmla="*/ 70 w 452"/>
                    <a:gd name="T33" fmla="*/ 523 h 544"/>
                    <a:gd name="T34" fmla="*/ 70 w 452"/>
                    <a:gd name="T35" fmla="*/ 499 h 544"/>
                    <a:gd name="T36" fmla="*/ 56 w 452"/>
                    <a:gd name="T37" fmla="*/ 486 h 544"/>
                    <a:gd name="T38" fmla="*/ 4 w 452"/>
                    <a:gd name="T39" fmla="*/ 499 h 544"/>
                    <a:gd name="T40" fmla="*/ 4 w 452"/>
                    <a:gd name="T41" fmla="*/ 364 h 544"/>
                    <a:gd name="T42" fmla="*/ 12 w 452"/>
                    <a:gd name="T43" fmla="*/ 322 h 544"/>
                    <a:gd name="T44" fmla="*/ 16 w 452"/>
                    <a:gd name="T45" fmla="*/ 264 h 544"/>
                    <a:gd name="T46" fmla="*/ 33 w 452"/>
                    <a:gd name="T47" fmla="*/ 124 h 544"/>
                    <a:gd name="T48" fmla="*/ 49 w 452"/>
                    <a:gd name="T49" fmla="*/ 44 h 544"/>
                    <a:gd name="T50" fmla="*/ 107 w 452"/>
                    <a:gd name="T51" fmla="*/ 25 h 544"/>
                    <a:gd name="T52" fmla="*/ 163 w 452"/>
                    <a:gd name="T53" fmla="*/ 4 h 544"/>
                    <a:gd name="T54" fmla="*/ 196 w 452"/>
                    <a:gd name="T55" fmla="*/ 153 h 544"/>
                    <a:gd name="T56" fmla="*/ 228 w 452"/>
                    <a:gd name="T57" fmla="*/ 255 h 544"/>
                    <a:gd name="T58" fmla="*/ 244 w 452"/>
                    <a:gd name="T59" fmla="*/ 285 h 544"/>
                    <a:gd name="T60" fmla="*/ 251 w 452"/>
                    <a:gd name="T61" fmla="*/ 265 h 544"/>
                    <a:gd name="T62" fmla="*/ 256 w 452"/>
                    <a:gd name="T63" fmla="*/ 242 h 544"/>
                    <a:gd name="T64" fmla="*/ 285 w 452"/>
                    <a:gd name="T65" fmla="*/ 109 h 544"/>
                    <a:gd name="T66" fmla="*/ 289 w 452"/>
                    <a:gd name="T67" fmla="*/ 0 h 544"/>
                    <a:gd name="T68" fmla="*/ 80 w 452"/>
                    <a:gd name="T69" fmla="*/ 314 h 544"/>
                    <a:gd name="T70" fmla="*/ 80 w 452"/>
                    <a:gd name="T71" fmla="*/ 344 h 544"/>
                    <a:gd name="T72" fmla="*/ 80 w 452"/>
                    <a:gd name="T73" fmla="*/ 383 h 544"/>
                    <a:gd name="T74" fmla="*/ 92 w 452"/>
                    <a:gd name="T75" fmla="*/ 332 h 544"/>
                    <a:gd name="T76" fmla="*/ 92 w 452"/>
                    <a:gd name="T77" fmla="*/ 265 h 544"/>
                    <a:gd name="T78" fmla="*/ 80 w 452"/>
                    <a:gd name="T79" fmla="*/ 314 h 5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452" h="544">
                      <a:moveTo>
                        <a:pt x="289" y="0"/>
                      </a:moveTo>
                      <a:cubicBezTo>
                        <a:pt x="290" y="0"/>
                        <a:pt x="291" y="0"/>
                        <a:pt x="293" y="0"/>
                      </a:cubicBezTo>
                      <a:cubicBezTo>
                        <a:pt x="329" y="13"/>
                        <a:pt x="366" y="25"/>
                        <a:pt x="403" y="35"/>
                      </a:cubicBezTo>
                      <a:cubicBezTo>
                        <a:pt x="405" y="50"/>
                        <a:pt x="411" y="63"/>
                        <a:pt x="413" y="78"/>
                      </a:cubicBezTo>
                      <a:cubicBezTo>
                        <a:pt x="414" y="95"/>
                        <a:pt x="413" y="112"/>
                        <a:pt x="414" y="130"/>
                      </a:cubicBezTo>
                      <a:cubicBezTo>
                        <a:pt x="414" y="142"/>
                        <a:pt x="420" y="152"/>
                        <a:pt x="421" y="163"/>
                      </a:cubicBezTo>
                      <a:cubicBezTo>
                        <a:pt x="422" y="185"/>
                        <a:pt x="421" y="205"/>
                        <a:pt x="424" y="225"/>
                      </a:cubicBezTo>
                      <a:cubicBezTo>
                        <a:pt x="429" y="265"/>
                        <a:pt x="441" y="302"/>
                        <a:pt x="446" y="341"/>
                      </a:cubicBezTo>
                      <a:cubicBezTo>
                        <a:pt x="451" y="384"/>
                        <a:pt x="449" y="426"/>
                        <a:pt x="452" y="475"/>
                      </a:cubicBezTo>
                      <a:cubicBezTo>
                        <a:pt x="450" y="480"/>
                        <a:pt x="443" y="472"/>
                        <a:pt x="439" y="471"/>
                      </a:cubicBezTo>
                      <a:cubicBezTo>
                        <a:pt x="424" y="467"/>
                        <a:pt x="404" y="467"/>
                        <a:pt x="395" y="476"/>
                      </a:cubicBezTo>
                      <a:cubicBezTo>
                        <a:pt x="395" y="489"/>
                        <a:pt x="395" y="500"/>
                        <a:pt x="395" y="513"/>
                      </a:cubicBezTo>
                      <a:cubicBezTo>
                        <a:pt x="375" y="513"/>
                        <a:pt x="357" y="519"/>
                        <a:pt x="340" y="517"/>
                      </a:cubicBezTo>
                      <a:cubicBezTo>
                        <a:pt x="312" y="514"/>
                        <a:pt x="301" y="490"/>
                        <a:pt x="289" y="470"/>
                      </a:cubicBezTo>
                      <a:cubicBezTo>
                        <a:pt x="273" y="443"/>
                        <a:pt x="256" y="400"/>
                        <a:pt x="248" y="372"/>
                      </a:cubicBezTo>
                      <a:cubicBezTo>
                        <a:pt x="238" y="428"/>
                        <a:pt x="235" y="489"/>
                        <a:pt x="206" y="527"/>
                      </a:cubicBezTo>
                      <a:cubicBezTo>
                        <a:pt x="171" y="544"/>
                        <a:pt x="108" y="532"/>
                        <a:pt x="70" y="523"/>
                      </a:cubicBezTo>
                      <a:cubicBezTo>
                        <a:pt x="70" y="515"/>
                        <a:pt x="70" y="506"/>
                        <a:pt x="70" y="499"/>
                      </a:cubicBezTo>
                      <a:cubicBezTo>
                        <a:pt x="63" y="501"/>
                        <a:pt x="61" y="490"/>
                        <a:pt x="56" y="486"/>
                      </a:cubicBezTo>
                      <a:cubicBezTo>
                        <a:pt x="35" y="486"/>
                        <a:pt x="19" y="492"/>
                        <a:pt x="4" y="499"/>
                      </a:cubicBezTo>
                      <a:cubicBezTo>
                        <a:pt x="7" y="454"/>
                        <a:pt x="0" y="410"/>
                        <a:pt x="4" y="364"/>
                      </a:cubicBezTo>
                      <a:cubicBezTo>
                        <a:pt x="4" y="350"/>
                        <a:pt x="10" y="336"/>
                        <a:pt x="12" y="322"/>
                      </a:cubicBezTo>
                      <a:cubicBezTo>
                        <a:pt x="14" y="303"/>
                        <a:pt x="14" y="283"/>
                        <a:pt x="16" y="264"/>
                      </a:cubicBezTo>
                      <a:cubicBezTo>
                        <a:pt x="23" y="218"/>
                        <a:pt x="24" y="170"/>
                        <a:pt x="33" y="124"/>
                      </a:cubicBezTo>
                      <a:cubicBezTo>
                        <a:pt x="40" y="97"/>
                        <a:pt x="41" y="69"/>
                        <a:pt x="49" y="44"/>
                      </a:cubicBezTo>
                      <a:cubicBezTo>
                        <a:pt x="67" y="35"/>
                        <a:pt x="87" y="31"/>
                        <a:pt x="107" y="25"/>
                      </a:cubicBezTo>
                      <a:cubicBezTo>
                        <a:pt x="125" y="17"/>
                        <a:pt x="143" y="9"/>
                        <a:pt x="163" y="4"/>
                      </a:cubicBezTo>
                      <a:cubicBezTo>
                        <a:pt x="175" y="54"/>
                        <a:pt x="184" y="105"/>
                        <a:pt x="196" y="153"/>
                      </a:cubicBezTo>
                      <a:cubicBezTo>
                        <a:pt x="205" y="189"/>
                        <a:pt x="217" y="223"/>
                        <a:pt x="228" y="255"/>
                      </a:cubicBezTo>
                      <a:cubicBezTo>
                        <a:pt x="232" y="265"/>
                        <a:pt x="235" y="279"/>
                        <a:pt x="244" y="285"/>
                      </a:cubicBezTo>
                      <a:cubicBezTo>
                        <a:pt x="251" y="280"/>
                        <a:pt x="249" y="271"/>
                        <a:pt x="251" y="265"/>
                      </a:cubicBezTo>
                      <a:cubicBezTo>
                        <a:pt x="252" y="257"/>
                        <a:pt x="253" y="250"/>
                        <a:pt x="256" y="242"/>
                      </a:cubicBezTo>
                      <a:cubicBezTo>
                        <a:pt x="265" y="196"/>
                        <a:pt x="278" y="154"/>
                        <a:pt x="285" y="109"/>
                      </a:cubicBezTo>
                      <a:cubicBezTo>
                        <a:pt x="290" y="75"/>
                        <a:pt x="286" y="35"/>
                        <a:pt x="289" y="0"/>
                      </a:cubicBezTo>
                      <a:close/>
                      <a:moveTo>
                        <a:pt x="80" y="314"/>
                      </a:moveTo>
                      <a:cubicBezTo>
                        <a:pt x="79" y="323"/>
                        <a:pt x="82" y="334"/>
                        <a:pt x="80" y="344"/>
                      </a:cubicBezTo>
                      <a:cubicBezTo>
                        <a:pt x="80" y="356"/>
                        <a:pt x="76" y="370"/>
                        <a:pt x="80" y="383"/>
                      </a:cubicBezTo>
                      <a:cubicBezTo>
                        <a:pt x="84" y="367"/>
                        <a:pt x="88" y="350"/>
                        <a:pt x="92" y="332"/>
                      </a:cubicBezTo>
                      <a:cubicBezTo>
                        <a:pt x="96" y="313"/>
                        <a:pt x="101" y="281"/>
                        <a:pt x="92" y="265"/>
                      </a:cubicBezTo>
                      <a:cubicBezTo>
                        <a:pt x="91" y="284"/>
                        <a:pt x="83" y="297"/>
                        <a:pt x="80" y="314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85" name="Freeform 163">
                  <a:extLst>
                    <a:ext uri="{FF2B5EF4-FFF2-40B4-BE49-F238E27FC236}">
                      <a16:creationId xmlns:a16="http://schemas.microsoft.com/office/drawing/2014/main" id="{14BF586A-2C43-4CBC-B358-8EE898D535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0225" y="1665292"/>
                  <a:ext cx="839790" cy="1258889"/>
                </a:xfrm>
                <a:custGeom>
                  <a:avLst/>
                  <a:gdLst>
                    <a:gd name="T0" fmla="*/ 160 w 224"/>
                    <a:gd name="T1" fmla="*/ 0 h 336"/>
                    <a:gd name="T2" fmla="*/ 161 w 224"/>
                    <a:gd name="T3" fmla="*/ 0 h 336"/>
                    <a:gd name="T4" fmla="*/ 192 w 224"/>
                    <a:gd name="T5" fmla="*/ 20 h 336"/>
                    <a:gd name="T6" fmla="*/ 219 w 224"/>
                    <a:gd name="T7" fmla="*/ 62 h 336"/>
                    <a:gd name="T8" fmla="*/ 202 w 224"/>
                    <a:gd name="T9" fmla="*/ 79 h 336"/>
                    <a:gd name="T10" fmla="*/ 224 w 224"/>
                    <a:gd name="T11" fmla="*/ 101 h 336"/>
                    <a:gd name="T12" fmla="*/ 224 w 224"/>
                    <a:gd name="T13" fmla="*/ 104 h 336"/>
                    <a:gd name="T14" fmla="*/ 122 w 224"/>
                    <a:gd name="T15" fmla="*/ 336 h 336"/>
                    <a:gd name="T16" fmla="*/ 121 w 224"/>
                    <a:gd name="T17" fmla="*/ 308 h 336"/>
                    <a:gd name="T18" fmla="*/ 2 w 224"/>
                    <a:gd name="T19" fmla="*/ 111 h 336"/>
                    <a:gd name="T20" fmla="*/ 17 w 224"/>
                    <a:gd name="T21" fmla="*/ 84 h 336"/>
                    <a:gd name="T22" fmla="*/ 0 w 224"/>
                    <a:gd name="T23" fmla="*/ 65 h 336"/>
                    <a:gd name="T24" fmla="*/ 0 w 224"/>
                    <a:gd name="T25" fmla="*/ 63 h 336"/>
                    <a:gd name="T26" fmla="*/ 48 w 224"/>
                    <a:gd name="T27" fmla="*/ 8 h 336"/>
                    <a:gd name="T28" fmla="*/ 122 w 224"/>
                    <a:gd name="T29" fmla="*/ 293 h 336"/>
                    <a:gd name="T30" fmla="*/ 160 w 224"/>
                    <a:gd name="T31" fmla="*/ 0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24" h="336">
                      <a:moveTo>
                        <a:pt x="160" y="0"/>
                      </a:moveTo>
                      <a:cubicBezTo>
                        <a:pt x="160" y="0"/>
                        <a:pt x="160" y="0"/>
                        <a:pt x="161" y="0"/>
                      </a:cubicBezTo>
                      <a:cubicBezTo>
                        <a:pt x="169" y="9"/>
                        <a:pt x="177" y="18"/>
                        <a:pt x="192" y="20"/>
                      </a:cubicBezTo>
                      <a:cubicBezTo>
                        <a:pt x="200" y="35"/>
                        <a:pt x="210" y="48"/>
                        <a:pt x="219" y="62"/>
                      </a:cubicBezTo>
                      <a:cubicBezTo>
                        <a:pt x="217" y="69"/>
                        <a:pt x="206" y="72"/>
                        <a:pt x="202" y="79"/>
                      </a:cubicBezTo>
                      <a:cubicBezTo>
                        <a:pt x="209" y="87"/>
                        <a:pt x="217" y="95"/>
                        <a:pt x="224" y="101"/>
                      </a:cubicBezTo>
                      <a:cubicBezTo>
                        <a:pt x="224" y="102"/>
                        <a:pt x="224" y="104"/>
                        <a:pt x="224" y="104"/>
                      </a:cubicBezTo>
                      <a:cubicBezTo>
                        <a:pt x="197" y="189"/>
                        <a:pt x="160" y="263"/>
                        <a:pt x="122" y="336"/>
                      </a:cubicBezTo>
                      <a:cubicBezTo>
                        <a:pt x="117" y="333"/>
                        <a:pt x="118" y="315"/>
                        <a:pt x="121" y="308"/>
                      </a:cubicBezTo>
                      <a:cubicBezTo>
                        <a:pt x="77" y="247"/>
                        <a:pt x="35" y="184"/>
                        <a:pt x="2" y="111"/>
                      </a:cubicBezTo>
                      <a:cubicBezTo>
                        <a:pt x="6" y="101"/>
                        <a:pt x="12" y="93"/>
                        <a:pt x="17" y="84"/>
                      </a:cubicBezTo>
                      <a:cubicBezTo>
                        <a:pt x="15" y="76"/>
                        <a:pt x="7" y="72"/>
                        <a:pt x="0" y="65"/>
                      </a:cubicBezTo>
                      <a:cubicBezTo>
                        <a:pt x="0" y="65"/>
                        <a:pt x="0" y="64"/>
                        <a:pt x="0" y="63"/>
                      </a:cubicBezTo>
                      <a:cubicBezTo>
                        <a:pt x="16" y="44"/>
                        <a:pt x="25" y="18"/>
                        <a:pt x="48" y="8"/>
                      </a:cubicBezTo>
                      <a:cubicBezTo>
                        <a:pt x="73" y="104"/>
                        <a:pt x="95" y="200"/>
                        <a:pt x="122" y="293"/>
                      </a:cubicBezTo>
                      <a:cubicBezTo>
                        <a:pt x="136" y="198"/>
                        <a:pt x="164" y="114"/>
                        <a:pt x="160" y="0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86" name="Freeform 164">
                  <a:extLst>
                    <a:ext uri="{FF2B5EF4-FFF2-40B4-BE49-F238E27FC236}">
                      <a16:creationId xmlns:a16="http://schemas.microsoft.com/office/drawing/2014/main" id="{0B7E910E-BA18-4120-BD6E-EF8096FC89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9611" y="1619255"/>
                  <a:ext cx="165099" cy="330202"/>
                </a:xfrm>
                <a:custGeom>
                  <a:avLst/>
                  <a:gdLst>
                    <a:gd name="T0" fmla="*/ 0 w 44"/>
                    <a:gd name="T1" fmla="*/ 21 h 88"/>
                    <a:gd name="T2" fmla="*/ 0 w 44"/>
                    <a:gd name="T3" fmla="*/ 21 h 88"/>
                    <a:gd name="T4" fmla="*/ 12 w 44"/>
                    <a:gd name="T5" fmla="*/ 0 h 88"/>
                    <a:gd name="T6" fmla="*/ 44 w 44"/>
                    <a:gd name="T7" fmla="*/ 46 h 88"/>
                    <a:gd name="T8" fmla="*/ 19 w 44"/>
                    <a:gd name="T9" fmla="*/ 88 h 88"/>
                    <a:gd name="T10" fmla="*/ 0 w 44"/>
                    <a:gd name="T11" fmla="*/ 21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4" h="88">
                      <a:moveTo>
                        <a:pt x="0" y="21"/>
                      </a:move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8" y="17"/>
                        <a:pt x="6" y="4"/>
                        <a:pt x="12" y="0"/>
                      </a:cubicBezTo>
                      <a:cubicBezTo>
                        <a:pt x="17" y="21"/>
                        <a:pt x="35" y="28"/>
                        <a:pt x="44" y="46"/>
                      </a:cubicBezTo>
                      <a:cubicBezTo>
                        <a:pt x="32" y="56"/>
                        <a:pt x="35" y="82"/>
                        <a:pt x="19" y="88"/>
                      </a:cubicBezTo>
                      <a:cubicBezTo>
                        <a:pt x="11" y="63"/>
                        <a:pt x="8" y="50"/>
                        <a:pt x="0" y="21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87" name="Freeform 165">
                  <a:extLst>
                    <a:ext uri="{FF2B5EF4-FFF2-40B4-BE49-F238E27FC236}">
                      <a16:creationId xmlns:a16="http://schemas.microsoft.com/office/drawing/2014/main" id="{4517A8CD-6106-4004-8E55-97C8F6E4D1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65526" y="1619255"/>
                  <a:ext cx="134939" cy="346075"/>
                </a:xfrm>
                <a:custGeom>
                  <a:avLst/>
                  <a:gdLst>
                    <a:gd name="T0" fmla="*/ 22 w 36"/>
                    <a:gd name="T1" fmla="*/ 0 h 92"/>
                    <a:gd name="T2" fmla="*/ 22 w 36"/>
                    <a:gd name="T3" fmla="*/ 92 h 92"/>
                    <a:gd name="T4" fmla="*/ 0 w 36"/>
                    <a:gd name="T5" fmla="*/ 46 h 92"/>
                    <a:gd name="T6" fmla="*/ 22 w 36"/>
                    <a:gd name="T7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92">
                      <a:moveTo>
                        <a:pt x="22" y="0"/>
                      </a:moveTo>
                      <a:cubicBezTo>
                        <a:pt x="36" y="13"/>
                        <a:pt x="29" y="69"/>
                        <a:pt x="22" y="92"/>
                      </a:cubicBezTo>
                      <a:cubicBezTo>
                        <a:pt x="3" y="91"/>
                        <a:pt x="8" y="55"/>
                        <a:pt x="0" y="46"/>
                      </a:cubicBezTo>
                      <a:cubicBezTo>
                        <a:pt x="4" y="29"/>
                        <a:pt x="22" y="26"/>
                        <a:pt x="22" y="0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88" name="Freeform 166">
                  <a:extLst>
                    <a:ext uri="{FF2B5EF4-FFF2-40B4-BE49-F238E27FC236}">
                      <a16:creationId xmlns:a16="http://schemas.microsoft.com/office/drawing/2014/main" id="{0F1EDEE3-03BF-40E9-910B-CFF747D778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6274" y="955678"/>
                  <a:ext cx="581026" cy="346075"/>
                </a:xfrm>
                <a:custGeom>
                  <a:avLst/>
                  <a:gdLst>
                    <a:gd name="T0" fmla="*/ 20 w 155"/>
                    <a:gd name="T1" fmla="*/ 49 h 92"/>
                    <a:gd name="T2" fmla="*/ 54 w 155"/>
                    <a:gd name="T3" fmla="*/ 54 h 92"/>
                    <a:gd name="T4" fmla="*/ 98 w 155"/>
                    <a:gd name="T5" fmla="*/ 59 h 92"/>
                    <a:gd name="T6" fmla="*/ 128 w 155"/>
                    <a:gd name="T7" fmla="*/ 67 h 92"/>
                    <a:gd name="T8" fmla="*/ 136 w 155"/>
                    <a:gd name="T9" fmla="*/ 92 h 92"/>
                    <a:gd name="T10" fmla="*/ 105 w 155"/>
                    <a:gd name="T11" fmla="*/ 5 h 92"/>
                    <a:gd name="T12" fmla="*/ 55 w 155"/>
                    <a:gd name="T13" fmla="*/ 4 h 92"/>
                    <a:gd name="T14" fmla="*/ 24 w 155"/>
                    <a:gd name="T15" fmla="*/ 21 h 92"/>
                    <a:gd name="T16" fmla="*/ 0 w 155"/>
                    <a:gd name="T17" fmla="*/ 45 h 92"/>
                    <a:gd name="T18" fmla="*/ 6 w 155"/>
                    <a:gd name="T19" fmla="*/ 91 h 92"/>
                    <a:gd name="T20" fmla="*/ 7 w 155"/>
                    <a:gd name="T21" fmla="*/ 91 h 92"/>
                    <a:gd name="T22" fmla="*/ 20 w 155"/>
                    <a:gd name="T23" fmla="*/ 49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5" h="92">
                      <a:moveTo>
                        <a:pt x="20" y="49"/>
                      </a:moveTo>
                      <a:cubicBezTo>
                        <a:pt x="28" y="48"/>
                        <a:pt x="33" y="47"/>
                        <a:pt x="54" y="54"/>
                      </a:cubicBezTo>
                      <a:cubicBezTo>
                        <a:pt x="75" y="60"/>
                        <a:pt x="90" y="69"/>
                        <a:pt x="98" y="59"/>
                      </a:cubicBezTo>
                      <a:cubicBezTo>
                        <a:pt x="107" y="49"/>
                        <a:pt x="127" y="62"/>
                        <a:pt x="128" y="67"/>
                      </a:cubicBezTo>
                      <a:cubicBezTo>
                        <a:pt x="130" y="73"/>
                        <a:pt x="136" y="92"/>
                        <a:pt x="136" y="92"/>
                      </a:cubicBezTo>
                      <a:cubicBezTo>
                        <a:pt x="155" y="54"/>
                        <a:pt x="132" y="19"/>
                        <a:pt x="105" y="5"/>
                      </a:cubicBezTo>
                      <a:cubicBezTo>
                        <a:pt x="86" y="5"/>
                        <a:pt x="69" y="0"/>
                        <a:pt x="55" y="4"/>
                      </a:cubicBezTo>
                      <a:cubicBezTo>
                        <a:pt x="43" y="6"/>
                        <a:pt x="34" y="15"/>
                        <a:pt x="24" y="21"/>
                      </a:cubicBezTo>
                      <a:cubicBezTo>
                        <a:pt x="15" y="29"/>
                        <a:pt x="4" y="35"/>
                        <a:pt x="0" y="45"/>
                      </a:cubicBezTo>
                      <a:cubicBezTo>
                        <a:pt x="1" y="62"/>
                        <a:pt x="1" y="77"/>
                        <a:pt x="6" y="91"/>
                      </a:cubicBezTo>
                      <a:cubicBezTo>
                        <a:pt x="7" y="91"/>
                        <a:pt x="7" y="91"/>
                        <a:pt x="7" y="91"/>
                      </a:cubicBezTo>
                      <a:cubicBezTo>
                        <a:pt x="9" y="82"/>
                        <a:pt x="14" y="51"/>
                        <a:pt x="20" y="49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89" name="Freeform 167">
                  <a:extLst>
                    <a:ext uri="{FF2B5EF4-FFF2-40B4-BE49-F238E27FC236}">
                      <a16:creationId xmlns:a16="http://schemas.microsoft.com/office/drawing/2014/main" id="{1EF22D59-EC87-4994-931C-D975F66EC0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6312" y="2133606"/>
                  <a:ext cx="71438" cy="96838"/>
                </a:xfrm>
                <a:custGeom>
                  <a:avLst/>
                  <a:gdLst>
                    <a:gd name="T0" fmla="*/ 5 w 19"/>
                    <a:gd name="T1" fmla="*/ 10 h 26"/>
                    <a:gd name="T2" fmla="*/ 11 w 19"/>
                    <a:gd name="T3" fmla="*/ 2 h 26"/>
                    <a:gd name="T4" fmla="*/ 15 w 19"/>
                    <a:gd name="T5" fmla="*/ 10 h 26"/>
                    <a:gd name="T6" fmla="*/ 0 w 19"/>
                    <a:gd name="T7" fmla="*/ 22 h 26"/>
                    <a:gd name="T8" fmla="*/ 5 w 19"/>
                    <a:gd name="T9" fmla="*/ 1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26">
                      <a:moveTo>
                        <a:pt x="5" y="10"/>
                      </a:moveTo>
                      <a:cubicBezTo>
                        <a:pt x="9" y="6"/>
                        <a:pt x="5" y="0"/>
                        <a:pt x="11" y="2"/>
                      </a:cubicBezTo>
                      <a:cubicBezTo>
                        <a:pt x="16" y="4"/>
                        <a:pt x="19" y="5"/>
                        <a:pt x="15" y="10"/>
                      </a:cubicBezTo>
                      <a:cubicBezTo>
                        <a:pt x="11" y="16"/>
                        <a:pt x="0" y="26"/>
                        <a:pt x="0" y="22"/>
                      </a:cubicBezTo>
                      <a:cubicBezTo>
                        <a:pt x="0" y="19"/>
                        <a:pt x="5" y="10"/>
                        <a:pt x="5" y="1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90" name="Freeform 168">
                  <a:extLst>
                    <a:ext uri="{FF2B5EF4-FFF2-40B4-BE49-F238E27FC236}">
                      <a16:creationId xmlns:a16="http://schemas.microsoft.com/office/drawing/2014/main" id="{E8A6A25A-41E6-42FE-AD0B-2363D2798C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7261" y="2354269"/>
                  <a:ext cx="71438" cy="93661"/>
                </a:xfrm>
                <a:custGeom>
                  <a:avLst/>
                  <a:gdLst>
                    <a:gd name="T0" fmla="*/ 6 w 19"/>
                    <a:gd name="T1" fmla="*/ 10 h 25"/>
                    <a:gd name="T2" fmla="*/ 11 w 19"/>
                    <a:gd name="T3" fmla="*/ 2 h 25"/>
                    <a:gd name="T4" fmla="*/ 15 w 19"/>
                    <a:gd name="T5" fmla="*/ 10 h 25"/>
                    <a:gd name="T6" fmla="*/ 0 w 19"/>
                    <a:gd name="T7" fmla="*/ 22 h 25"/>
                    <a:gd name="T8" fmla="*/ 6 w 19"/>
                    <a:gd name="T9" fmla="*/ 1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25">
                      <a:moveTo>
                        <a:pt x="6" y="10"/>
                      </a:moveTo>
                      <a:cubicBezTo>
                        <a:pt x="9" y="5"/>
                        <a:pt x="6" y="0"/>
                        <a:pt x="11" y="2"/>
                      </a:cubicBezTo>
                      <a:cubicBezTo>
                        <a:pt x="16" y="4"/>
                        <a:pt x="19" y="4"/>
                        <a:pt x="15" y="10"/>
                      </a:cubicBezTo>
                      <a:cubicBezTo>
                        <a:pt x="11" y="15"/>
                        <a:pt x="0" y="25"/>
                        <a:pt x="0" y="22"/>
                      </a:cubicBezTo>
                      <a:cubicBezTo>
                        <a:pt x="0" y="19"/>
                        <a:pt x="6" y="10"/>
                        <a:pt x="6" y="1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91" name="Freeform 169">
                  <a:extLst>
                    <a:ext uri="{FF2B5EF4-FFF2-40B4-BE49-F238E27FC236}">
                      <a16:creationId xmlns:a16="http://schemas.microsoft.com/office/drawing/2014/main" id="{8837BF45-8A97-44C6-8F97-649528C356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7349" y="2073282"/>
                  <a:ext cx="49214" cy="630240"/>
                </a:xfrm>
                <a:custGeom>
                  <a:avLst/>
                  <a:gdLst>
                    <a:gd name="T0" fmla="*/ 10 w 13"/>
                    <a:gd name="T1" fmla="*/ 168 h 168"/>
                    <a:gd name="T2" fmla="*/ 6 w 13"/>
                    <a:gd name="T3" fmla="*/ 39 h 168"/>
                    <a:gd name="T4" fmla="*/ 6 w 13"/>
                    <a:gd name="T5" fmla="*/ 10 h 168"/>
                    <a:gd name="T6" fmla="*/ 13 w 13"/>
                    <a:gd name="T7" fmla="*/ 10 h 168"/>
                    <a:gd name="T8" fmla="*/ 10 w 13"/>
                    <a:gd name="T9" fmla="*/ 168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68">
                      <a:moveTo>
                        <a:pt x="10" y="168"/>
                      </a:moveTo>
                      <a:cubicBezTo>
                        <a:pt x="10" y="168"/>
                        <a:pt x="11" y="61"/>
                        <a:pt x="6" y="39"/>
                      </a:cubicBezTo>
                      <a:cubicBezTo>
                        <a:pt x="0" y="17"/>
                        <a:pt x="2" y="10"/>
                        <a:pt x="6" y="10"/>
                      </a:cubicBezTo>
                      <a:cubicBezTo>
                        <a:pt x="10" y="10"/>
                        <a:pt x="13" y="0"/>
                        <a:pt x="13" y="10"/>
                      </a:cubicBezTo>
                      <a:cubicBezTo>
                        <a:pt x="13" y="20"/>
                        <a:pt x="10" y="168"/>
                        <a:pt x="10" y="168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92" name="Freeform 170">
                  <a:extLst>
                    <a:ext uri="{FF2B5EF4-FFF2-40B4-BE49-F238E27FC236}">
                      <a16:creationId xmlns:a16="http://schemas.microsoft.com/office/drawing/2014/main" id="{A4BC08FF-983E-4667-9D23-23EAFE3D38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6853" y="2106619"/>
                  <a:ext cx="98425" cy="1320804"/>
                </a:xfrm>
                <a:custGeom>
                  <a:avLst/>
                  <a:gdLst>
                    <a:gd name="T0" fmla="*/ 26 w 26"/>
                    <a:gd name="T1" fmla="*/ 352 h 352"/>
                    <a:gd name="T2" fmla="*/ 7 w 26"/>
                    <a:gd name="T3" fmla="*/ 213 h 352"/>
                    <a:gd name="T4" fmla="*/ 7 w 26"/>
                    <a:gd name="T5" fmla="*/ 145 h 352"/>
                    <a:gd name="T6" fmla="*/ 0 w 26"/>
                    <a:gd name="T7" fmla="*/ 30 h 352"/>
                    <a:gd name="T8" fmla="*/ 10 w 26"/>
                    <a:gd name="T9" fmla="*/ 0 h 352"/>
                    <a:gd name="T10" fmla="*/ 10 w 26"/>
                    <a:gd name="T11" fmla="*/ 6 h 352"/>
                    <a:gd name="T12" fmla="*/ 26 w 26"/>
                    <a:gd name="T13" fmla="*/ 352 h 3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352">
                      <a:moveTo>
                        <a:pt x="26" y="352"/>
                      </a:moveTo>
                      <a:cubicBezTo>
                        <a:pt x="26" y="347"/>
                        <a:pt x="8" y="236"/>
                        <a:pt x="7" y="213"/>
                      </a:cubicBezTo>
                      <a:cubicBezTo>
                        <a:pt x="6" y="189"/>
                        <a:pt x="9" y="165"/>
                        <a:pt x="7" y="145"/>
                      </a:cubicBezTo>
                      <a:cubicBezTo>
                        <a:pt x="5" y="126"/>
                        <a:pt x="0" y="48"/>
                        <a:pt x="0" y="30"/>
                      </a:cubicBezTo>
                      <a:cubicBezTo>
                        <a:pt x="1" y="12"/>
                        <a:pt x="10" y="0"/>
                        <a:pt x="10" y="0"/>
                      </a:cubicBezTo>
                      <a:cubicBezTo>
                        <a:pt x="10" y="6"/>
                        <a:pt x="10" y="6"/>
                        <a:pt x="10" y="6"/>
                      </a:cubicBezTo>
                      <a:lnTo>
                        <a:pt x="26" y="352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93" name="Freeform 171">
                  <a:extLst>
                    <a:ext uri="{FF2B5EF4-FFF2-40B4-BE49-F238E27FC236}">
                      <a16:creationId xmlns:a16="http://schemas.microsoft.com/office/drawing/2014/main" id="{1ABD782D-ADBE-4574-98A8-C5F2691AD4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0476" y="3135321"/>
                  <a:ext cx="222250" cy="58738"/>
                </a:xfrm>
                <a:custGeom>
                  <a:avLst/>
                  <a:gdLst>
                    <a:gd name="T0" fmla="*/ 0 w 59"/>
                    <a:gd name="T1" fmla="*/ 16 h 16"/>
                    <a:gd name="T2" fmla="*/ 52 w 59"/>
                    <a:gd name="T3" fmla="*/ 7 h 16"/>
                    <a:gd name="T4" fmla="*/ 59 w 59"/>
                    <a:gd name="T5" fmla="*/ 7 h 16"/>
                    <a:gd name="T6" fmla="*/ 0 w 59"/>
                    <a:gd name="T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9" h="16">
                      <a:moveTo>
                        <a:pt x="0" y="16"/>
                      </a:moveTo>
                      <a:cubicBezTo>
                        <a:pt x="0" y="16"/>
                        <a:pt x="49" y="13"/>
                        <a:pt x="52" y="7"/>
                      </a:cubicBezTo>
                      <a:cubicBezTo>
                        <a:pt x="55" y="0"/>
                        <a:pt x="59" y="3"/>
                        <a:pt x="59" y="7"/>
                      </a:cubicBezTo>
                      <a:cubicBezTo>
                        <a:pt x="58" y="11"/>
                        <a:pt x="0" y="16"/>
                        <a:pt x="0" y="16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94" name="Freeform 172">
                  <a:extLst>
                    <a:ext uri="{FF2B5EF4-FFF2-40B4-BE49-F238E27FC236}">
                      <a16:creationId xmlns:a16="http://schemas.microsoft.com/office/drawing/2014/main" id="{97F34995-6585-4920-9B88-CB64709361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57627" y="3224223"/>
                  <a:ext cx="198440" cy="282574"/>
                </a:xfrm>
                <a:custGeom>
                  <a:avLst/>
                  <a:gdLst>
                    <a:gd name="T0" fmla="*/ 44 w 53"/>
                    <a:gd name="T1" fmla="*/ 0 h 75"/>
                    <a:gd name="T2" fmla="*/ 53 w 53"/>
                    <a:gd name="T3" fmla="*/ 75 h 75"/>
                    <a:gd name="T4" fmla="*/ 24 w 53"/>
                    <a:gd name="T5" fmla="*/ 75 h 75"/>
                    <a:gd name="T6" fmla="*/ 14 w 53"/>
                    <a:gd name="T7" fmla="*/ 69 h 75"/>
                    <a:gd name="T8" fmla="*/ 34 w 53"/>
                    <a:gd name="T9" fmla="*/ 61 h 75"/>
                    <a:gd name="T10" fmla="*/ 22 w 53"/>
                    <a:gd name="T11" fmla="*/ 38 h 75"/>
                    <a:gd name="T12" fmla="*/ 44 w 53"/>
                    <a:gd name="T13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3" h="75">
                      <a:moveTo>
                        <a:pt x="44" y="0"/>
                      </a:moveTo>
                      <a:cubicBezTo>
                        <a:pt x="53" y="75"/>
                        <a:pt x="53" y="75"/>
                        <a:pt x="53" y="75"/>
                      </a:cubicBezTo>
                      <a:cubicBezTo>
                        <a:pt x="24" y="75"/>
                        <a:pt x="24" y="75"/>
                        <a:pt x="24" y="75"/>
                      </a:cubicBezTo>
                      <a:cubicBezTo>
                        <a:pt x="24" y="75"/>
                        <a:pt x="0" y="69"/>
                        <a:pt x="14" y="69"/>
                      </a:cubicBezTo>
                      <a:cubicBezTo>
                        <a:pt x="29" y="68"/>
                        <a:pt x="42" y="73"/>
                        <a:pt x="34" y="61"/>
                      </a:cubicBezTo>
                      <a:cubicBezTo>
                        <a:pt x="27" y="48"/>
                        <a:pt x="6" y="41"/>
                        <a:pt x="22" y="38"/>
                      </a:cubicBezTo>
                      <a:cubicBezTo>
                        <a:pt x="38" y="34"/>
                        <a:pt x="44" y="0"/>
                        <a:pt x="44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95" name="Freeform 173">
                  <a:extLst>
                    <a:ext uri="{FF2B5EF4-FFF2-40B4-BE49-F238E27FC236}">
                      <a16:creationId xmlns:a16="http://schemas.microsoft.com/office/drawing/2014/main" id="{DDC1196B-A9D4-413A-9F06-1805D99E81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9122" y="2576519"/>
                  <a:ext cx="60324" cy="490537"/>
                </a:xfrm>
                <a:custGeom>
                  <a:avLst/>
                  <a:gdLst>
                    <a:gd name="T0" fmla="*/ 0 w 38"/>
                    <a:gd name="T1" fmla="*/ 0 h 309"/>
                    <a:gd name="T2" fmla="*/ 29 w 38"/>
                    <a:gd name="T3" fmla="*/ 309 h 309"/>
                    <a:gd name="T4" fmla="*/ 38 w 38"/>
                    <a:gd name="T5" fmla="*/ 293 h 309"/>
                    <a:gd name="T6" fmla="*/ 0 w 38"/>
                    <a:gd name="T7" fmla="*/ 0 h 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8" h="309">
                      <a:moveTo>
                        <a:pt x="0" y="0"/>
                      </a:moveTo>
                      <a:lnTo>
                        <a:pt x="29" y="309"/>
                      </a:lnTo>
                      <a:lnTo>
                        <a:pt x="38" y="29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96" name="Freeform 174">
                  <a:extLst>
                    <a:ext uri="{FF2B5EF4-FFF2-40B4-BE49-F238E27FC236}">
                      <a16:creationId xmlns:a16="http://schemas.microsoft.com/office/drawing/2014/main" id="{63BB57A8-3AAC-4E73-AD7C-EE90B5E492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7833" y="3157549"/>
                  <a:ext cx="288924" cy="93661"/>
                </a:xfrm>
                <a:custGeom>
                  <a:avLst/>
                  <a:gdLst>
                    <a:gd name="T0" fmla="*/ 0 w 77"/>
                    <a:gd name="T1" fmla="*/ 0 h 25"/>
                    <a:gd name="T2" fmla="*/ 75 w 77"/>
                    <a:gd name="T3" fmla="*/ 10 h 25"/>
                    <a:gd name="T4" fmla="*/ 68 w 77"/>
                    <a:gd name="T5" fmla="*/ 25 h 25"/>
                    <a:gd name="T6" fmla="*/ 0 w 77"/>
                    <a:gd name="T7" fmla="*/ 12 h 25"/>
                    <a:gd name="T8" fmla="*/ 0 w 77"/>
                    <a:gd name="T9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7" h="25">
                      <a:moveTo>
                        <a:pt x="0" y="0"/>
                      </a:moveTo>
                      <a:cubicBezTo>
                        <a:pt x="0" y="0"/>
                        <a:pt x="73" y="9"/>
                        <a:pt x="75" y="10"/>
                      </a:cubicBezTo>
                      <a:cubicBezTo>
                        <a:pt x="77" y="11"/>
                        <a:pt x="68" y="25"/>
                        <a:pt x="68" y="25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97" name="Freeform 175">
                  <a:extLst>
                    <a:ext uri="{FF2B5EF4-FFF2-40B4-BE49-F238E27FC236}">
                      <a16:creationId xmlns:a16="http://schemas.microsoft.com/office/drawing/2014/main" id="{7144069A-9289-479C-AEB7-45193C1D1F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7833" y="3333761"/>
                  <a:ext cx="242887" cy="236537"/>
                </a:xfrm>
                <a:custGeom>
                  <a:avLst/>
                  <a:gdLst>
                    <a:gd name="T0" fmla="*/ 65 w 65"/>
                    <a:gd name="T1" fmla="*/ 0 h 63"/>
                    <a:gd name="T2" fmla="*/ 50 w 65"/>
                    <a:gd name="T3" fmla="*/ 60 h 63"/>
                    <a:gd name="T4" fmla="*/ 9 w 65"/>
                    <a:gd name="T5" fmla="*/ 52 h 63"/>
                    <a:gd name="T6" fmla="*/ 18 w 65"/>
                    <a:gd name="T7" fmla="*/ 46 h 63"/>
                    <a:gd name="T8" fmla="*/ 49 w 65"/>
                    <a:gd name="T9" fmla="*/ 46 h 63"/>
                    <a:gd name="T10" fmla="*/ 65 w 65"/>
                    <a:gd name="T11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5" h="63">
                      <a:moveTo>
                        <a:pt x="65" y="0"/>
                      </a:moveTo>
                      <a:cubicBezTo>
                        <a:pt x="50" y="60"/>
                        <a:pt x="50" y="60"/>
                        <a:pt x="50" y="60"/>
                      </a:cubicBezTo>
                      <a:cubicBezTo>
                        <a:pt x="9" y="52"/>
                        <a:pt x="9" y="52"/>
                        <a:pt x="9" y="52"/>
                      </a:cubicBezTo>
                      <a:cubicBezTo>
                        <a:pt x="9" y="52"/>
                        <a:pt x="0" y="47"/>
                        <a:pt x="18" y="46"/>
                      </a:cubicBezTo>
                      <a:cubicBezTo>
                        <a:pt x="36" y="46"/>
                        <a:pt x="48" y="63"/>
                        <a:pt x="49" y="46"/>
                      </a:cubicBezTo>
                      <a:cubicBezTo>
                        <a:pt x="50" y="30"/>
                        <a:pt x="65" y="0"/>
                        <a:pt x="65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98" name="Freeform 176">
                  <a:extLst>
                    <a:ext uri="{FF2B5EF4-FFF2-40B4-BE49-F238E27FC236}">
                      <a16:creationId xmlns:a16="http://schemas.microsoft.com/office/drawing/2014/main" id="{C68F4478-CC33-4FB9-8622-2AC24806EA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70183" y="2201870"/>
                  <a:ext cx="41274" cy="168276"/>
                </a:xfrm>
                <a:custGeom>
                  <a:avLst/>
                  <a:gdLst>
                    <a:gd name="T0" fmla="*/ 0 w 11"/>
                    <a:gd name="T1" fmla="*/ 0 h 45"/>
                    <a:gd name="T2" fmla="*/ 0 w 11"/>
                    <a:gd name="T3" fmla="*/ 21 h 45"/>
                    <a:gd name="T4" fmla="*/ 2 w 11"/>
                    <a:gd name="T5" fmla="*/ 42 h 45"/>
                    <a:gd name="T6" fmla="*/ 10 w 11"/>
                    <a:gd name="T7" fmla="*/ 5 h 45"/>
                    <a:gd name="T8" fmla="*/ 0 w 11"/>
                    <a:gd name="T9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45">
                      <a:moveTo>
                        <a:pt x="0" y="0"/>
                      </a:moveTo>
                      <a:cubicBezTo>
                        <a:pt x="0" y="5"/>
                        <a:pt x="0" y="13"/>
                        <a:pt x="0" y="21"/>
                      </a:cubicBezTo>
                      <a:cubicBezTo>
                        <a:pt x="1" y="31"/>
                        <a:pt x="2" y="41"/>
                        <a:pt x="2" y="42"/>
                      </a:cubicBezTo>
                      <a:cubicBezTo>
                        <a:pt x="4" y="45"/>
                        <a:pt x="11" y="8"/>
                        <a:pt x="10" y="5"/>
                      </a:cubicBezTo>
                      <a:cubicBezTo>
                        <a:pt x="8" y="2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99" name="Freeform 177">
                  <a:extLst>
                    <a:ext uri="{FF2B5EF4-FFF2-40B4-BE49-F238E27FC236}">
                      <a16:creationId xmlns:a16="http://schemas.microsoft.com/office/drawing/2014/main" id="{95D78150-BDB0-451C-88F4-FC8638A06A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71758" y="2786069"/>
                  <a:ext cx="150812" cy="352425"/>
                </a:xfrm>
                <a:custGeom>
                  <a:avLst/>
                  <a:gdLst>
                    <a:gd name="T0" fmla="*/ 0 w 40"/>
                    <a:gd name="T1" fmla="*/ 0 h 94"/>
                    <a:gd name="T2" fmla="*/ 20 w 40"/>
                    <a:gd name="T3" fmla="*/ 64 h 94"/>
                    <a:gd name="T4" fmla="*/ 36 w 40"/>
                    <a:gd name="T5" fmla="*/ 82 h 94"/>
                    <a:gd name="T6" fmla="*/ 14 w 40"/>
                    <a:gd name="T7" fmla="*/ 26 h 94"/>
                    <a:gd name="T8" fmla="*/ 0 w 40"/>
                    <a:gd name="T9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94">
                      <a:moveTo>
                        <a:pt x="0" y="0"/>
                      </a:moveTo>
                      <a:cubicBezTo>
                        <a:pt x="0" y="0"/>
                        <a:pt x="12" y="47"/>
                        <a:pt x="20" y="64"/>
                      </a:cubicBezTo>
                      <a:cubicBezTo>
                        <a:pt x="28" y="82"/>
                        <a:pt x="40" y="94"/>
                        <a:pt x="36" y="82"/>
                      </a:cubicBezTo>
                      <a:cubicBezTo>
                        <a:pt x="32" y="69"/>
                        <a:pt x="20" y="36"/>
                        <a:pt x="14" y="26"/>
                      </a:cubicBezTo>
                      <a:cubicBezTo>
                        <a:pt x="9" y="15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00" name="Freeform 178">
                  <a:extLst>
                    <a:ext uri="{FF2B5EF4-FFF2-40B4-BE49-F238E27FC236}">
                      <a16:creationId xmlns:a16="http://schemas.microsoft.com/office/drawing/2014/main" id="{47C9FFE5-9134-4F28-AB0D-5753639BAF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9736" y="2860684"/>
                  <a:ext cx="49214" cy="247650"/>
                </a:xfrm>
                <a:custGeom>
                  <a:avLst/>
                  <a:gdLst>
                    <a:gd name="T0" fmla="*/ 0 w 13"/>
                    <a:gd name="T1" fmla="*/ 0 h 66"/>
                    <a:gd name="T2" fmla="*/ 10 w 13"/>
                    <a:gd name="T3" fmla="*/ 31 h 66"/>
                    <a:gd name="T4" fmla="*/ 6 w 13"/>
                    <a:gd name="T5" fmla="*/ 50 h 66"/>
                    <a:gd name="T6" fmla="*/ 0 w 13"/>
                    <a:gd name="T7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66">
                      <a:moveTo>
                        <a:pt x="0" y="0"/>
                      </a:moveTo>
                      <a:cubicBezTo>
                        <a:pt x="0" y="0"/>
                        <a:pt x="13" y="15"/>
                        <a:pt x="10" y="31"/>
                      </a:cubicBezTo>
                      <a:cubicBezTo>
                        <a:pt x="8" y="47"/>
                        <a:pt x="5" y="66"/>
                        <a:pt x="6" y="50"/>
                      </a:cubicBezTo>
                      <a:cubicBezTo>
                        <a:pt x="6" y="35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01" name="Freeform 188">
                  <a:extLst>
                    <a:ext uri="{FF2B5EF4-FFF2-40B4-BE49-F238E27FC236}">
                      <a16:creationId xmlns:a16="http://schemas.microsoft.com/office/drawing/2014/main" id="{F3AC0C5C-05F7-4B33-9E41-07E9BFF3EC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01994" y="1544640"/>
                  <a:ext cx="349252" cy="131762"/>
                </a:xfrm>
                <a:custGeom>
                  <a:avLst/>
                  <a:gdLst>
                    <a:gd name="T0" fmla="*/ 0 w 93"/>
                    <a:gd name="T1" fmla="*/ 0 h 35"/>
                    <a:gd name="T2" fmla="*/ 33 w 93"/>
                    <a:gd name="T3" fmla="*/ 29 h 35"/>
                    <a:gd name="T4" fmla="*/ 68 w 93"/>
                    <a:gd name="T5" fmla="*/ 24 h 35"/>
                    <a:gd name="T6" fmla="*/ 85 w 93"/>
                    <a:gd name="T7" fmla="*/ 7 h 35"/>
                    <a:gd name="T8" fmla="*/ 92 w 93"/>
                    <a:gd name="T9" fmla="*/ 6 h 35"/>
                    <a:gd name="T10" fmla="*/ 85 w 93"/>
                    <a:gd name="T11" fmla="*/ 19 h 35"/>
                    <a:gd name="T12" fmla="*/ 67 w 93"/>
                    <a:gd name="T13" fmla="*/ 32 h 35"/>
                    <a:gd name="T14" fmla="*/ 28 w 93"/>
                    <a:gd name="T15" fmla="*/ 32 h 35"/>
                    <a:gd name="T16" fmla="*/ 0 w 93"/>
                    <a:gd name="T17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3" h="35">
                      <a:moveTo>
                        <a:pt x="0" y="0"/>
                      </a:moveTo>
                      <a:cubicBezTo>
                        <a:pt x="2" y="4"/>
                        <a:pt x="21" y="25"/>
                        <a:pt x="33" y="29"/>
                      </a:cubicBezTo>
                      <a:cubicBezTo>
                        <a:pt x="45" y="32"/>
                        <a:pt x="63" y="29"/>
                        <a:pt x="68" y="24"/>
                      </a:cubicBezTo>
                      <a:cubicBezTo>
                        <a:pt x="73" y="19"/>
                        <a:pt x="84" y="9"/>
                        <a:pt x="85" y="7"/>
                      </a:cubicBezTo>
                      <a:cubicBezTo>
                        <a:pt x="86" y="5"/>
                        <a:pt x="93" y="1"/>
                        <a:pt x="92" y="6"/>
                      </a:cubicBezTo>
                      <a:cubicBezTo>
                        <a:pt x="91" y="10"/>
                        <a:pt x="89" y="14"/>
                        <a:pt x="85" y="19"/>
                      </a:cubicBezTo>
                      <a:cubicBezTo>
                        <a:pt x="82" y="24"/>
                        <a:pt x="75" y="33"/>
                        <a:pt x="67" y="32"/>
                      </a:cubicBezTo>
                      <a:cubicBezTo>
                        <a:pt x="58" y="32"/>
                        <a:pt x="36" y="35"/>
                        <a:pt x="28" y="32"/>
                      </a:cubicBezTo>
                      <a:cubicBezTo>
                        <a:pt x="19" y="3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02" name="Freeform 103">
                  <a:extLst>
                    <a:ext uri="{FF2B5EF4-FFF2-40B4-BE49-F238E27FC236}">
                      <a16:creationId xmlns:a16="http://schemas.microsoft.com/office/drawing/2014/main" id="{E4739B2E-64CB-4025-B97D-8FC6D01F81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53697" y="1061826"/>
                  <a:ext cx="226796" cy="66888"/>
                </a:xfrm>
                <a:custGeom>
                  <a:avLst/>
                  <a:gdLst>
                    <a:gd name="T0" fmla="*/ 9 w 49"/>
                    <a:gd name="T1" fmla="*/ 1 h 23"/>
                    <a:gd name="T2" fmla="*/ 24 w 49"/>
                    <a:gd name="T3" fmla="*/ 8 h 23"/>
                    <a:gd name="T4" fmla="*/ 31 w 49"/>
                    <a:gd name="T5" fmla="*/ 7 h 23"/>
                    <a:gd name="T6" fmla="*/ 44 w 49"/>
                    <a:gd name="T7" fmla="*/ 17 h 23"/>
                    <a:gd name="T8" fmla="*/ 37 w 49"/>
                    <a:gd name="T9" fmla="*/ 17 h 23"/>
                    <a:gd name="T10" fmla="*/ 13 w 49"/>
                    <a:gd name="T11" fmla="*/ 10 h 23"/>
                    <a:gd name="T12" fmla="*/ 9 w 49"/>
                    <a:gd name="T13" fmla="*/ 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3">
                      <a:moveTo>
                        <a:pt x="9" y="1"/>
                      </a:moveTo>
                      <a:cubicBezTo>
                        <a:pt x="9" y="1"/>
                        <a:pt x="20" y="7"/>
                        <a:pt x="24" y="8"/>
                      </a:cubicBezTo>
                      <a:cubicBezTo>
                        <a:pt x="28" y="9"/>
                        <a:pt x="31" y="9"/>
                        <a:pt x="31" y="7"/>
                      </a:cubicBezTo>
                      <a:cubicBezTo>
                        <a:pt x="31" y="4"/>
                        <a:pt x="40" y="11"/>
                        <a:pt x="44" y="17"/>
                      </a:cubicBezTo>
                      <a:cubicBezTo>
                        <a:pt x="49" y="23"/>
                        <a:pt x="44" y="21"/>
                        <a:pt x="37" y="17"/>
                      </a:cubicBezTo>
                      <a:cubicBezTo>
                        <a:pt x="30" y="13"/>
                        <a:pt x="20" y="15"/>
                        <a:pt x="13" y="10"/>
                      </a:cubicBezTo>
                      <a:cubicBezTo>
                        <a:pt x="6" y="5"/>
                        <a:pt x="0" y="0"/>
                        <a:pt x="9" y="1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03" name="Freeform 104">
                  <a:extLst>
                    <a:ext uri="{FF2B5EF4-FFF2-40B4-BE49-F238E27FC236}">
                      <a16:creationId xmlns:a16="http://schemas.microsoft.com/office/drawing/2014/main" id="{C32F2132-132E-4168-AE07-D32D4DF34D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8643239">
                  <a:off x="3555600" y="1040771"/>
                  <a:ext cx="87944" cy="175885"/>
                </a:xfrm>
                <a:custGeom>
                  <a:avLst/>
                  <a:gdLst>
                    <a:gd name="T0" fmla="*/ 12 w 30"/>
                    <a:gd name="T1" fmla="*/ 25 h 60"/>
                    <a:gd name="T2" fmla="*/ 20 w 30"/>
                    <a:gd name="T3" fmla="*/ 19 h 60"/>
                    <a:gd name="T4" fmla="*/ 22 w 30"/>
                    <a:gd name="T5" fmla="*/ 4 h 60"/>
                    <a:gd name="T6" fmla="*/ 24 w 30"/>
                    <a:gd name="T7" fmla="*/ 26 h 60"/>
                    <a:gd name="T8" fmla="*/ 21 w 30"/>
                    <a:gd name="T9" fmla="*/ 37 h 60"/>
                    <a:gd name="T10" fmla="*/ 14 w 30"/>
                    <a:gd name="T11" fmla="*/ 48 h 60"/>
                    <a:gd name="T12" fmla="*/ 8 w 30"/>
                    <a:gd name="T13" fmla="*/ 35 h 60"/>
                    <a:gd name="T14" fmla="*/ 12 w 30"/>
                    <a:gd name="T15" fmla="*/ 25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0" h="60">
                      <a:moveTo>
                        <a:pt x="12" y="25"/>
                      </a:moveTo>
                      <a:cubicBezTo>
                        <a:pt x="12" y="25"/>
                        <a:pt x="17" y="24"/>
                        <a:pt x="20" y="19"/>
                      </a:cubicBezTo>
                      <a:cubicBezTo>
                        <a:pt x="24" y="14"/>
                        <a:pt x="22" y="8"/>
                        <a:pt x="22" y="4"/>
                      </a:cubicBezTo>
                      <a:cubicBezTo>
                        <a:pt x="21" y="0"/>
                        <a:pt x="30" y="16"/>
                        <a:pt x="24" y="26"/>
                      </a:cubicBezTo>
                      <a:cubicBezTo>
                        <a:pt x="24" y="26"/>
                        <a:pt x="21" y="34"/>
                        <a:pt x="21" y="37"/>
                      </a:cubicBezTo>
                      <a:cubicBezTo>
                        <a:pt x="21" y="40"/>
                        <a:pt x="20" y="46"/>
                        <a:pt x="14" y="48"/>
                      </a:cubicBezTo>
                      <a:cubicBezTo>
                        <a:pt x="8" y="50"/>
                        <a:pt x="0" y="60"/>
                        <a:pt x="8" y="35"/>
                      </a:cubicBezTo>
                      <a:lnTo>
                        <a:pt x="12" y="25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  <p:sp>
          <p:nvSpPr>
            <p:cNvPr id="516" name="ZoneTexte 515">
              <a:extLst>
                <a:ext uri="{FF2B5EF4-FFF2-40B4-BE49-F238E27FC236}">
                  <a16:creationId xmlns:a16="http://schemas.microsoft.com/office/drawing/2014/main" id="{3624ABE9-47DF-4D50-A38B-0A7EBA5A3963}"/>
                </a:ext>
              </a:extLst>
            </p:cNvPr>
            <p:cNvSpPr txBox="1"/>
            <p:nvPr/>
          </p:nvSpPr>
          <p:spPr>
            <a:xfrm>
              <a:off x="4988627" y="1654888"/>
              <a:ext cx="707245" cy="246221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500" b="1" dirty="0">
                  <a:solidFill>
                    <a:srgbClr val="27509B"/>
                  </a:solidFill>
                  <a:latin typeface="Michelin SemiBold" panose="02000000000000000000" pitchFamily="50" charset="0"/>
                </a:rPr>
                <a:t>ARCHITECTS</a:t>
              </a:r>
            </a:p>
            <a:p>
              <a:pPr algn="ctr"/>
              <a:r>
                <a:rPr lang="fr-FR" sz="500" b="1" dirty="0">
                  <a:solidFill>
                    <a:srgbClr val="27509B"/>
                  </a:solidFill>
                  <a:latin typeface="Michelin SemiBold" panose="02000000000000000000" pitchFamily="50" charset="0"/>
                </a:rPr>
                <a:t>COMMUNITY</a:t>
              </a:r>
              <a:endParaRPr lang="en-US" sz="500" b="1" dirty="0">
                <a:solidFill>
                  <a:srgbClr val="27509B"/>
                </a:solidFill>
                <a:latin typeface="Michelin SemiBold" panose="02000000000000000000" pitchFamily="50" charset="0"/>
              </a:endParaRPr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7854995" y="804696"/>
            <a:ext cx="795411" cy="669025"/>
            <a:chOff x="6848518" y="1274088"/>
            <a:chExt cx="795411" cy="669025"/>
          </a:xfrm>
        </p:grpSpPr>
        <p:grpSp>
          <p:nvGrpSpPr>
            <p:cNvPr id="439" name="Groupe 1289">
              <a:extLst>
                <a:ext uri="{FF2B5EF4-FFF2-40B4-BE49-F238E27FC236}">
                  <a16:creationId xmlns:a16="http://schemas.microsoft.com/office/drawing/2014/main" id="{83DEE7CF-CB09-4B7C-B51F-FD1432D3589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91506" y="1274088"/>
              <a:ext cx="399601" cy="395965"/>
              <a:chOff x="2335614" y="3820290"/>
              <a:chExt cx="653239" cy="560864"/>
            </a:xfrm>
            <a:effectLst/>
          </p:grpSpPr>
          <p:sp>
            <p:nvSpPr>
              <p:cNvPr id="440" name="Ellipse 439">
                <a:extLst>
                  <a:ext uri="{FF2B5EF4-FFF2-40B4-BE49-F238E27FC236}">
                    <a16:creationId xmlns:a16="http://schemas.microsoft.com/office/drawing/2014/main" id="{7AC86C65-9B4D-4BEA-9740-C94F0FC0716D}"/>
                  </a:ext>
                </a:extLst>
              </p:cNvPr>
              <p:cNvSpPr/>
              <p:nvPr/>
            </p:nvSpPr>
            <p:spPr bwMode="auto">
              <a:xfrm>
                <a:off x="2335614" y="3917291"/>
                <a:ext cx="653239" cy="463863"/>
              </a:xfrm>
              <a:prstGeom prst="ellipse">
                <a:avLst/>
              </a:prstGeom>
              <a:solidFill>
                <a:srgbClr val="00B0F0"/>
              </a:solidFill>
              <a:ln w="76200">
                <a:noFill/>
                <a:round/>
                <a:headEnd/>
                <a:tailEnd/>
              </a:ln>
              <a:effectLst>
                <a:outerShdw blurRad="419100" dist="38100" dir="5400000" sx="107000" sy="107000" algn="t" rotWithShape="0">
                  <a:prstClr val="black">
                    <a:alpha val="34000"/>
                  </a:prstClr>
                </a:outerShdw>
              </a:effectLst>
              <a:scene3d>
                <a:camera prst="perspectiveRelaxedModerately">
                  <a:rot lat="17390630" lon="0" rev="0"/>
                </a:camera>
                <a:lightRig rig="threePt" dir="t"/>
              </a:scene3d>
              <a:sp3d extrusionH="44450" prstMaterial="matte"/>
            </p:spPr>
            <p:txBody>
              <a:bodyPr lIns="0" tIns="0" rIns="0" bIns="0" anchor="ctr"/>
              <a:lstStyle/>
              <a:p>
                <a:pPr algn="ctr" defTabSz="914378" eaLnBrk="1" fontAlgn="auto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8000" b="1" kern="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441" name="_effect" descr="C:\Users\marc.h\Desktop\Schatten-TEST.png">
                <a:extLst>
                  <a:ext uri="{FF2B5EF4-FFF2-40B4-BE49-F238E27FC236}">
                    <a16:creationId xmlns:a16="http://schemas.microsoft.com/office/drawing/2014/main" id="{126E5183-0F68-40AC-9510-D1FB36890BA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 flipH="1">
                <a:off x="2441403" y="4131921"/>
                <a:ext cx="441661" cy="66320"/>
              </a:xfrm>
              <a:prstGeom prst="rect">
                <a:avLst/>
              </a:prstGeom>
              <a:solidFill>
                <a:srgbClr val="00B0F0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</p:pic>
          <p:grpSp>
            <p:nvGrpSpPr>
              <p:cNvPr id="442" name="Gruppieren 96">
                <a:extLst>
                  <a:ext uri="{FF2B5EF4-FFF2-40B4-BE49-F238E27FC236}">
                    <a16:creationId xmlns:a16="http://schemas.microsoft.com/office/drawing/2014/main" id="{964879BD-1814-43C4-8AD6-5CE028D83E96}"/>
                  </a:ext>
                </a:extLst>
              </p:cNvPr>
              <p:cNvGrpSpPr/>
              <p:nvPr/>
            </p:nvGrpSpPr>
            <p:grpSpPr>
              <a:xfrm>
                <a:off x="2435114" y="3833767"/>
                <a:ext cx="159492" cy="328959"/>
                <a:chOff x="2519371" y="955678"/>
                <a:chExt cx="1695457" cy="4968890"/>
              </a:xfrm>
              <a:solidFill>
                <a:schemeClr val="tx1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481" name="Freeform 156">
                  <a:extLst>
                    <a:ext uri="{FF2B5EF4-FFF2-40B4-BE49-F238E27FC236}">
                      <a16:creationId xmlns:a16="http://schemas.microsoft.com/office/drawing/2014/main" id="{5BE36767-6AEE-4008-8C37-FB01ADAEDF3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84626" y="3435360"/>
                  <a:ext cx="269878" cy="404813"/>
                </a:xfrm>
                <a:custGeom>
                  <a:avLst/>
                  <a:gdLst>
                    <a:gd name="T0" fmla="*/ 29 w 72"/>
                    <a:gd name="T1" fmla="*/ 0 h 108"/>
                    <a:gd name="T2" fmla="*/ 37 w 72"/>
                    <a:gd name="T3" fmla="*/ 0 h 108"/>
                    <a:gd name="T4" fmla="*/ 68 w 72"/>
                    <a:gd name="T5" fmla="*/ 6 h 108"/>
                    <a:gd name="T6" fmla="*/ 70 w 72"/>
                    <a:gd name="T7" fmla="*/ 58 h 108"/>
                    <a:gd name="T8" fmla="*/ 60 w 72"/>
                    <a:gd name="T9" fmla="*/ 78 h 108"/>
                    <a:gd name="T10" fmla="*/ 14 w 72"/>
                    <a:gd name="T11" fmla="*/ 108 h 108"/>
                    <a:gd name="T12" fmla="*/ 5 w 72"/>
                    <a:gd name="T13" fmla="*/ 102 h 108"/>
                    <a:gd name="T14" fmla="*/ 13 w 72"/>
                    <a:gd name="T15" fmla="*/ 80 h 108"/>
                    <a:gd name="T16" fmla="*/ 15 w 72"/>
                    <a:gd name="T17" fmla="*/ 6 h 108"/>
                    <a:gd name="T18" fmla="*/ 29 w 72"/>
                    <a:gd name="T19" fmla="*/ 0 h 108"/>
                    <a:gd name="T20" fmla="*/ 28 w 72"/>
                    <a:gd name="T21" fmla="*/ 81 h 108"/>
                    <a:gd name="T22" fmla="*/ 41 w 72"/>
                    <a:gd name="T23" fmla="*/ 53 h 108"/>
                    <a:gd name="T24" fmla="*/ 33 w 72"/>
                    <a:gd name="T25" fmla="*/ 51 h 108"/>
                    <a:gd name="T26" fmla="*/ 28 w 72"/>
                    <a:gd name="T27" fmla="*/ 81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2" h="108">
                      <a:moveTo>
                        <a:pt x="29" y="0"/>
                      </a:moveTo>
                      <a:cubicBezTo>
                        <a:pt x="32" y="0"/>
                        <a:pt x="34" y="0"/>
                        <a:pt x="37" y="0"/>
                      </a:cubicBezTo>
                      <a:cubicBezTo>
                        <a:pt x="45" y="3"/>
                        <a:pt x="60" y="2"/>
                        <a:pt x="68" y="6"/>
                      </a:cubicBezTo>
                      <a:cubicBezTo>
                        <a:pt x="67" y="23"/>
                        <a:pt x="72" y="43"/>
                        <a:pt x="70" y="58"/>
                      </a:cubicBezTo>
                      <a:cubicBezTo>
                        <a:pt x="68" y="65"/>
                        <a:pt x="63" y="72"/>
                        <a:pt x="60" y="78"/>
                      </a:cubicBezTo>
                      <a:cubicBezTo>
                        <a:pt x="49" y="98"/>
                        <a:pt x="39" y="102"/>
                        <a:pt x="14" y="108"/>
                      </a:cubicBezTo>
                      <a:cubicBezTo>
                        <a:pt x="17" y="101"/>
                        <a:pt x="5" y="107"/>
                        <a:pt x="5" y="102"/>
                      </a:cubicBezTo>
                      <a:cubicBezTo>
                        <a:pt x="0" y="90"/>
                        <a:pt x="6" y="87"/>
                        <a:pt x="13" y="80"/>
                      </a:cubicBezTo>
                      <a:cubicBezTo>
                        <a:pt x="15" y="57"/>
                        <a:pt x="13" y="28"/>
                        <a:pt x="15" y="6"/>
                      </a:cubicBezTo>
                      <a:cubicBezTo>
                        <a:pt x="20" y="3"/>
                        <a:pt x="29" y="6"/>
                        <a:pt x="29" y="0"/>
                      </a:cubicBezTo>
                      <a:close/>
                      <a:moveTo>
                        <a:pt x="28" y="81"/>
                      </a:moveTo>
                      <a:cubicBezTo>
                        <a:pt x="41" y="81"/>
                        <a:pt x="43" y="67"/>
                        <a:pt x="41" y="53"/>
                      </a:cubicBezTo>
                      <a:cubicBezTo>
                        <a:pt x="37" y="54"/>
                        <a:pt x="37" y="51"/>
                        <a:pt x="33" y="51"/>
                      </a:cubicBezTo>
                      <a:cubicBezTo>
                        <a:pt x="30" y="61"/>
                        <a:pt x="32" y="75"/>
                        <a:pt x="28" y="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2" name="Freeform 159">
                  <a:extLst>
                    <a:ext uri="{FF2B5EF4-FFF2-40B4-BE49-F238E27FC236}">
                      <a16:creationId xmlns:a16="http://schemas.microsoft.com/office/drawing/2014/main" id="{18CCB284-0639-445A-A613-AA880D24FB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9775" y="5519755"/>
                  <a:ext cx="539752" cy="404813"/>
                </a:xfrm>
                <a:custGeom>
                  <a:avLst/>
                  <a:gdLst>
                    <a:gd name="T0" fmla="*/ 19 w 144"/>
                    <a:gd name="T1" fmla="*/ 0 h 108"/>
                    <a:gd name="T2" fmla="*/ 21 w 144"/>
                    <a:gd name="T3" fmla="*/ 0 h 108"/>
                    <a:gd name="T4" fmla="*/ 55 w 144"/>
                    <a:gd name="T5" fmla="*/ 19 h 108"/>
                    <a:gd name="T6" fmla="*/ 139 w 144"/>
                    <a:gd name="T7" fmla="*/ 47 h 108"/>
                    <a:gd name="T8" fmla="*/ 144 w 144"/>
                    <a:gd name="T9" fmla="*/ 62 h 108"/>
                    <a:gd name="T10" fmla="*/ 144 w 144"/>
                    <a:gd name="T11" fmla="*/ 66 h 108"/>
                    <a:gd name="T12" fmla="*/ 137 w 144"/>
                    <a:gd name="T13" fmla="*/ 88 h 108"/>
                    <a:gd name="T14" fmla="*/ 105 w 144"/>
                    <a:gd name="T15" fmla="*/ 91 h 108"/>
                    <a:gd name="T16" fmla="*/ 100 w 144"/>
                    <a:gd name="T17" fmla="*/ 103 h 108"/>
                    <a:gd name="T18" fmla="*/ 90 w 144"/>
                    <a:gd name="T19" fmla="*/ 108 h 108"/>
                    <a:gd name="T20" fmla="*/ 82 w 144"/>
                    <a:gd name="T21" fmla="*/ 108 h 108"/>
                    <a:gd name="T22" fmla="*/ 31 w 144"/>
                    <a:gd name="T23" fmla="*/ 100 h 108"/>
                    <a:gd name="T24" fmla="*/ 32 w 144"/>
                    <a:gd name="T25" fmla="*/ 73 h 108"/>
                    <a:gd name="T26" fmla="*/ 0 w 144"/>
                    <a:gd name="T27" fmla="*/ 65 h 108"/>
                    <a:gd name="T28" fmla="*/ 0 w 144"/>
                    <a:gd name="T29" fmla="*/ 51 h 108"/>
                    <a:gd name="T30" fmla="*/ 11 w 144"/>
                    <a:gd name="T31" fmla="*/ 12 h 108"/>
                    <a:gd name="T32" fmla="*/ 19 w 144"/>
                    <a:gd name="T33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44" h="108">
                      <a:moveTo>
                        <a:pt x="19" y="0"/>
                      </a:moveTo>
                      <a:cubicBezTo>
                        <a:pt x="19" y="0"/>
                        <a:pt x="20" y="0"/>
                        <a:pt x="21" y="0"/>
                      </a:cubicBezTo>
                      <a:cubicBezTo>
                        <a:pt x="33" y="7"/>
                        <a:pt x="45" y="13"/>
                        <a:pt x="55" y="19"/>
                      </a:cubicBezTo>
                      <a:cubicBezTo>
                        <a:pt x="92" y="2"/>
                        <a:pt x="120" y="31"/>
                        <a:pt x="139" y="47"/>
                      </a:cubicBezTo>
                      <a:cubicBezTo>
                        <a:pt x="141" y="52"/>
                        <a:pt x="141" y="58"/>
                        <a:pt x="144" y="62"/>
                      </a:cubicBezTo>
                      <a:cubicBezTo>
                        <a:pt x="144" y="63"/>
                        <a:pt x="144" y="65"/>
                        <a:pt x="144" y="66"/>
                      </a:cubicBezTo>
                      <a:cubicBezTo>
                        <a:pt x="142" y="75"/>
                        <a:pt x="141" y="83"/>
                        <a:pt x="137" y="88"/>
                      </a:cubicBezTo>
                      <a:cubicBezTo>
                        <a:pt x="124" y="87"/>
                        <a:pt x="117" y="91"/>
                        <a:pt x="105" y="91"/>
                      </a:cubicBezTo>
                      <a:cubicBezTo>
                        <a:pt x="99" y="91"/>
                        <a:pt x="104" y="101"/>
                        <a:pt x="100" y="103"/>
                      </a:cubicBezTo>
                      <a:cubicBezTo>
                        <a:pt x="96" y="105"/>
                        <a:pt x="91" y="106"/>
                        <a:pt x="90" y="108"/>
                      </a:cubicBezTo>
                      <a:cubicBezTo>
                        <a:pt x="87" y="108"/>
                        <a:pt x="84" y="108"/>
                        <a:pt x="82" y="108"/>
                      </a:cubicBezTo>
                      <a:cubicBezTo>
                        <a:pt x="66" y="105"/>
                        <a:pt x="41" y="108"/>
                        <a:pt x="31" y="100"/>
                      </a:cubicBezTo>
                      <a:cubicBezTo>
                        <a:pt x="27" y="90"/>
                        <a:pt x="33" y="85"/>
                        <a:pt x="32" y="73"/>
                      </a:cubicBezTo>
                      <a:cubicBezTo>
                        <a:pt x="23" y="75"/>
                        <a:pt x="8" y="71"/>
                        <a:pt x="0" y="65"/>
                      </a:cubicBezTo>
                      <a:cubicBezTo>
                        <a:pt x="0" y="61"/>
                        <a:pt x="0" y="56"/>
                        <a:pt x="0" y="51"/>
                      </a:cubicBezTo>
                      <a:cubicBezTo>
                        <a:pt x="6" y="39"/>
                        <a:pt x="14" y="27"/>
                        <a:pt x="11" y="12"/>
                      </a:cubicBezTo>
                      <a:cubicBezTo>
                        <a:pt x="11" y="7"/>
                        <a:pt x="18" y="6"/>
                        <a:pt x="19" y="0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3" name="Freeform 160">
                  <a:extLst>
                    <a:ext uri="{FF2B5EF4-FFF2-40B4-BE49-F238E27FC236}">
                      <a16:creationId xmlns:a16="http://schemas.microsoft.com/office/drawing/2014/main" id="{D2BD6AE8-9E21-4E04-B143-541761BCC2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5286" y="3014673"/>
                  <a:ext cx="1109668" cy="2805120"/>
                </a:xfrm>
                <a:custGeom>
                  <a:avLst/>
                  <a:gdLst>
                    <a:gd name="T0" fmla="*/ 0 w 296"/>
                    <a:gd name="T1" fmla="*/ 188 h 748"/>
                    <a:gd name="T2" fmla="*/ 0 w 296"/>
                    <a:gd name="T3" fmla="*/ 183 h 748"/>
                    <a:gd name="T4" fmla="*/ 12 w 296"/>
                    <a:gd name="T5" fmla="*/ 166 h 748"/>
                    <a:gd name="T6" fmla="*/ 103 w 296"/>
                    <a:gd name="T7" fmla="*/ 169 h 748"/>
                    <a:gd name="T8" fmla="*/ 143 w 296"/>
                    <a:gd name="T9" fmla="*/ 9 h 748"/>
                    <a:gd name="T10" fmla="*/ 191 w 296"/>
                    <a:gd name="T11" fmla="*/ 11 h 748"/>
                    <a:gd name="T12" fmla="*/ 225 w 296"/>
                    <a:gd name="T13" fmla="*/ 112 h 748"/>
                    <a:gd name="T14" fmla="*/ 245 w 296"/>
                    <a:gd name="T15" fmla="*/ 133 h 748"/>
                    <a:gd name="T16" fmla="*/ 268 w 296"/>
                    <a:gd name="T17" fmla="*/ 153 h 748"/>
                    <a:gd name="T18" fmla="*/ 296 w 296"/>
                    <a:gd name="T19" fmla="*/ 153 h 748"/>
                    <a:gd name="T20" fmla="*/ 275 w 296"/>
                    <a:gd name="T21" fmla="*/ 276 h 748"/>
                    <a:gd name="T22" fmla="*/ 268 w 296"/>
                    <a:gd name="T23" fmla="*/ 288 h 748"/>
                    <a:gd name="T24" fmla="*/ 264 w 296"/>
                    <a:gd name="T25" fmla="*/ 303 h 748"/>
                    <a:gd name="T26" fmla="*/ 253 w 296"/>
                    <a:gd name="T27" fmla="*/ 328 h 748"/>
                    <a:gd name="T28" fmla="*/ 256 w 296"/>
                    <a:gd name="T29" fmla="*/ 354 h 748"/>
                    <a:gd name="T30" fmla="*/ 252 w 296"/>
                    <a:gd name="T31" fmla="*/ 418 h 748"/>
                    <a:gd name="T32" fmla="*/ 249 w 296"/>
                    <a:gd name="T33" fmla="*/ 514 h 748"/>
                    <a:gd name="T34" fmla="*/ 237 w 296"/>
                    <a:gd name="T35" fmla="*/ 577 h 748"/>
                    <a:gd name="T36" fmla="*/ 223 w 296"/>
                    <a:gd name="T37" fmla="*/ 604 h 748"/>
                    <a:gd name="T38" fmla="*/ 215 w 296"/>
                    <a:gd name="T39" fmla="*/ 633 h 748"/>
                    <a:gd name="T40" fmla="*/ 207 w 296"/>
                    <a:gd name="T41" fmla="*/ 662 h 748"/>
                    <a:gd name="T42" fmla="*/ 222 w 296"/>
                    <a:gd name="T43" fmla="*/ 707 h 748"/>
                    <a:gd name="T44" fmla="*/ 182 w 296"/>
                    <a:gd name="T45" fmla="*/ 689 h 748"/>
                    <a:gd name="T46" fmla="*/ 122 w 296"/>
                    <a:gd name="T47" fmla="*/ 748 h 748"/>
                    <a:gd name="T48" fmla="*/ 114 w 296"/>
                    <a:gd name="T49" fmla="*/ 677 h 748"/>
                    <a:gd name="T50" fmla="*/ 97 w 296"/>
                    <a:gd name="T51" fmla="*/ 672 h 748"/>
                    <a:gd name="T52" fmla="*/ 97 w 296"/>
                    <a:gd name="T53" fmla="*/ 609 h 748"/>
                    <a:gd name="T54" fmla="*/ 86 w 296"/>
                    <a:gd name="T55" fmla="*/ 588 h 748"/>
                    <a:gd name="T56" fmla="*/ 64 w 296"/>
                    <a:gd name="T57" fmla="*/ 525 h 748"/>
                    <a:gd name="T58" fmla="*/ 35 w 296"/>
                    <a:gd name="T59" fmla="*/ 383 h 748"/>
                    <a:gd name="T60" fmla="*/ 19 w 296"/>
                    <a:gd name="T61" fmla="*/ 285 h 748"/>
                    <a:gd name="T62" fmla="*/ 0 w 296"/>
                    <a:gd name="T63" fmla="*/ 188 h 7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96" h="748">
                      <a:moveTo>
                        <a:pt x="0" y="188"/>
                      </a:moveTo>
                      <a:cubicBezTo>
                        <a:pt x="0" y="186"/>
                        <a:pt x="0" y="185"/>
                        <a:pt x="0" y="183"/>
                      </a:cubicBezTo>
                      <a:cubicBezTo>
                        <a:pt x="6" y="178"/>
                        <a:pt x="6" y="168"/>
                        <a:pt x="12" y="166"/>
                      </a:cubicBezTo>
                      <a:cubicBezTo>
                        <a:pt x="37" y="176"/>
                        <a:pt x="73" y="176"/>
                        <a:pt x="103" y="169"/>
                      </a:cubicBezTo>
                      <a:cubicBezTo>
                        <a:pt x="116" y="117"/>
                        <a:pt x="127" y="60"/>
                        <a:pt x="143" y="9"/>
                      </a:cubicBezTo>
                      <a:cubicBezTo>
                        <a:pt x="158" y="0"/>
                        <a:pt x="177" y="2"/>
                        <a:pt x="191" y="11"/>
                      </a:cubicBezTo>
                      <a:cubicBezTo>
                        <a:pt x="204" y="36"/>
                        <a:pt x="210" y="83"/>
                        <a:pt x="225" y="112"/>
                      </a:cubicBezTo>
                      <a:cubicBezTo>
                        <a:pt x="229" y="119"/>
                        <a:pt x="237" y="125"/>
                        <a:pt x="245" y="133"/>
                      </a:cubicBezTo>
                      <a:cubicBezTo>
                        <a:pt x="252" y="140"/>
                        <a:pt x="260" y="152"/>
                        <a:pt x="268" y="153"/>
                      </a:cubicBezTo>
                      <a:cubicBezTo>
                        <a:pt x="277" y="155"/>
                        <a:pt x="286" y="149"/>
                        <a:pt x="296" y="153"/>
                      </a:cubicBezTo>
                      <a:cubicBezTo>
                        <a:pt x="291" y="195"/>
                        <a:pt x="275" y="228"/>
                        <a:pt x="275" y="276"/>
                      </a:cubicBezTo>
                      <a:cubicBezTo>
                        <a:pt x="273" y="281"/>
                        <a:pt x="269" y="281"/>
                        <a:pt x="268" y="288"/>
                      </a:cubicBezTo>
                      <a:cubicBezTo>
                        <a:pt x="265" y="291"/>
                        <a:pt x="265" y="298"/>
                        <a:pt x="264" y="303"/>
                      </a:cubicBezTo>
                      <a:cubicBezTo>
                        <a:pt x="261" y="312"/>
                        <a:pt x="253" y="318"/>
                        <a:pt x="253" y="328"/>
                      </a:cubicBezTo>
                      <a:cubicBezTo>
                        <a:pt x="252" y="336"/>
                        <a:pt x="256" y="345"/>
                        <a:pt x="256" y="354"/>
                      </a:cubicBezTo>
                      <a:cubicBezTo>
                        <a:pt x="258" y="380"/>
                        <a:pt x="258" y="399"/>
                        <a:pt x="252" y="418"/>
                      </a:cubicBezTo>
                      <a:cubicBezTo>
                        <a:pt x="266" y="448"/>
                        <a:pt x="257" y="479"/>
                        <a:pt x="249" y="514"/>
                      </a:cubicBezTo>
                      <a:cubicBezTo>
                        <a:pt x="245" y="536"/>
                        <a:pt x="243" y="559"/>
                        <a:pt x="237" y="577"/>
                      </a:cubicBezTo>
                      <a:cubicBezTo>
                        <a:pt x="233" y="586"/>
                        <a:pt x="227" y="595"/>
                        <a:pt x="223" y="604"/>
                      </a:cubicBezTo>
                      <a:cubicBezTo>
                        <a:pt x="220" y="611"/>
                        <a:pt x="218" y="623"/>
                        <a:pt x="215" y="633"/>
                      </a:cubicBezTo>
                      <a:cubicBezTo>
                        <a:pt x="212" y="644"/>
                        <a:pt x="207" y="656"/>
                        <a:pt x="207" y="662"/>
                      </a:cubicBezTo>
                      <a:cubicBezTo>
                        <a:pt x="208" y="675"/>
                        <a:pt x="224" y="690"/>
                        <a:pt x="222" y="707"/>
                      </a:cubicBezTo>
                      <a:cubicBezTo>
                        <a:pt x="203" y="705"/>
                        <a:pt x="197" y="690"/>
                        <a:pt x="182" y="689"/>
                      </a:cubicBezTo>
                      <a:cubicBezTo>
                        <a:pt x="141" y="688"/>
                        <a:pt x="137" y="726"/>
                        <a:pt x="122" y="748"/>
                      </a:cubicBezTo>
                      <a:cubicBezTo>
                        <a:pt x="120" y="724"/>
                        <a:pt x="115" y="702"/>
                        <a:pt x="114" y="677"/>
                      </a:cubicBezTo>
                      <a:cubicBezTo>
                        <a:pt x="108" y="676"/>
                        <a:pt x="99" y="684"/>
                        <a:pt x="97" y="672"/>
                      </a:cubicBezTo>
                      <a:cubicBezTo>
                        <a:pt x="64" y="661"/>
                        <a:pt x="98" y="627"/>
                        <a:pt x="97" y="609"/>
                      </a:cubicBezTo>
                      <a:cubicBezTo>
                        <a:pt x="97" y="602"/>
                        <a:pt x="90" y="595"/>
                        <a:pt x="86" y="588"/>
                      </a:cubicBezTo>
                      <a:cubicBezTo>
                        <a:pt x="74" y="569"/>
                        <a:pt x="70" y="549"/>
                        <a:pt x="64" y="525"/>
                      </a:cubicBezTo>
                      <a:cubicBezTo>
                        <a:pt x="52" y="479"/>
                        <a:pt x="45" y="432"/>
                        <a:pt x="35" y="383"/>
                      </a:cubicBezTo>
                      <a:cubicBezTo>
                        <a:pt x="28" y="351"/>
                        <a:pt x="22" y="318"/>
                        <a:pt x="19" y="285"/>
                      </a:cubicBezTo>
                      <a:cubicBezTo>
                        <a:pt x="18" y="251"/>
                        <a:pt x="7" y="214"/>
                        <a:pt x="0" y="188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4" name="Freeform 179">
                  <a:extLst>
                    <a:ext uri="{FF2B5EF4-FFF2-40B4-BE49-F238E27FC236}">
                      <a16:creationId xmlns:a16="http://schemas.microsoft.com/office/drawing/2014/main" id="{F556149F-C718-4066-82F1-E1AF6EB858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4413" y="3113098"/>
                  <a:ext cx="452441" cy="569916"/>
                </a:xfrm>
                <a:custGeom>
                  <a:avLst/>
                  <a:gdLst>
                    <a:gd name="T0" fmla="*/ 0 w 285"/>
                    <a:gd name="T1" fmla="*/ 0 h 359"/>
                    <a:gd name="T2" fmla="*/ 14 w 285"/>
                    <a:gd name="T3" fmla="*/ 96 h 359"/>
                    <a:gd name="T4" fmla="*/ 108 w 285"/>
                    <a:gd name="T5" fmla="*/ 330 h 359"/>
                    <a:gd name="T6" fmla="*/ 285 w 285"/>
                    <a:gd name="T7" fmla="*/ 359 h 359"/>
                    <a:gd name="T8" fmla="*/ 285 w 285"/>
                    <a:gd name="T9" fmla="*/ 311 h 359"/>
                    <a:gd name="T10" fmla="*/ 0 w 285"/>
                    <a:gd name="T11" fmla="*/ 0 h 3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5" h="359">
                      <a:moveTo>
                        <a:pt x="0" y="0"/>
                      </a:moveTo>
                      <a:lnTo>
                        <a:pt x="14" y="96"/>
                      </a:lnTo>
                      <a:lnTo>
                        <a:pt x="108" y="330"/>
                      </a:lnTo>
                      <a:lnTo>
                        <a:pt x="285" y="359"/>
                      </a:lnTo>
                      <a:lnTo>
                        <a:pt x="285" y="3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5" name="Freeform 180">
                  <a:extLst>
                    <a:ext uri="{FF2B5EF4-FFF2-40B4-BE49-F238E27FC236}">
                      <a16:creationId xmlns:a16="http://schemas.microsoft.com/office/drawing/2014/main" id="{263C21B5-B19C-4518-B634-86E0114B14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5286" y="3146435"/>
                  <a:ext cx="592139" cy="619126"/>
                </a:xfrm>
                <a:custGeom>
                  <a:avLst/>
                  <a:gdLst>
                    <a:gd name="T0" fmla="*/ 158 w 158"/>
                    <a:gd name="T1" fmla="*/ 0 h 165"/>
                    <a:gd name="T2" fmla="*/ 158 w 158"/>
                    <a:gd name="T3" fmla="*/ 80 h 165"/>
                    <a:gd name="T4" fmla="*/ 113 w 158"/>
                    <a:gd name="T5" fmla="*/ 158 h 165"/>
                    <a:gd name="T6" fmla="*/ 23 w 158"/>
                    <a:gd name="T7" fmla="*/ 156 h 165"/>
                    <a:gd name="T8" fmla="*/ 0 w 158"/>
                    <a:gd name="T9" fmla="*/ 148 h 165"/>
                    <a:gd name="T10" fmla="*/ 87 w 158"/>
                    <a:gd name="T11" fmla="*/ 137 h 165"/>
                    <a:gd name="T12" fmla="*/ 158 w 158"/>
                    <a:gd name="T13" fmla="*/ 0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8" h="165">
                      <a:moveTo>
                        <a:pt x="158" y="0"/>
                      </a:moveTo>
                      <a:cubicBezTo>
                        <a:pt x="158" y="80"/>
                        <a:pt x="158" y="80"/>
                        <a:pt x="158" y="80"/>
                      </a:cubicBezTo>
                      <a:cubicBezTo>
                        <a:pt x="158" y="80"/>
                        <a:pt x="139" y="165"/>
                        <a:pt x="113" y="158"/>
                      </a:cubicBezTo>
                      <a:cubicBezTo>
                        <a:pt x="87" y="152"/>
                        <a:pt x="26" y="157"/>
                        <a:pt x="23" y="156"/>
                      </a:cubicBezTo>
                      <a:cubicBezTo>
                        <a:pt x="20" y="156"/>
                        <a:pt x="0" y="148"/>
                        <a:pt x="0" y="148"/>
                      </a:cubicBezTo>
                      <a:cubicBezTo>
                        <a:pt x="0" y="148"/>
                        <a:pt x="82" y="138"/>
                        <a:pt x="87" y="137"/>
                      </a:cubicBezTo>
                      <a:cubicBezTo>
                        <a:pt x="92" y="136"/>
                        <a:pt x="158" y="0"/>
                        <a:pt x="158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6" name="Freeform 181">
                  <a:extLst>
                    <a:ext uri="{FF2B5EF4-FFF2-40B4-BE49-F238E27FC236}">
                      <a16:creationId xmlns:a16="http://schemas.microsoft.com/office/drawing/2014/main" id="{6C44C298-B84D-4659-BC2A-C3881A5425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9813" y="3446473"/>
                  <a:ext cx="63501" cy="423863"/>
                </a:xfrm>
                <a:custGeom>
                  <a:avLst/>
                  <a:gdLst>
                    <a:gd name="T0" fmla="*/ 0 w 40"/>
                    <a:gd name="T1" fmla="*/ 0 h 267"/>
                    <a:gd name="T2" fmla="*/ 0 w 40"/>
                    <a:gd name="T3" fmla="*/ 267 h 267"/>
                    <a:gd name="T4" fmla="*/ 40 w 40"/>
                    <a:gd name="T5" fmla="*/ 260 h 267"/>
                    <a:gd name="T6" fmla="*/ 0 w 40"/>
                    <a:gd name="T7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0" h="267">
                      <a:moveTo>
                        <a:pt x="0" y="0"/>
                      </a:moveTo>
                      <a:lnTo>
                        <a:pt x="0" y="267"/>
                      </a:lnTo>
                      <a:lnTo>
                        <a:pt x="40" y="2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7" name="Freeform 182">
                  <a:extLst>
                    <a:ext uri="{FF2B5EF4-FFF2-40B4-BE49-F238E27FC236}">
                      <a16:creationId xmlns:a16="http://schemas.microsoft.com/office/drawing/2014/main" id="{B80E9642-0AF9-4129-A156-EEFC04489C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48036" y="3884623"/>
                  <a:ext cx="217490" cy="1497016"/>
                </a:xfrm>
                <a:custGeom>
                  <a:avLst/>
                  <a:gdLst>
                    <a:gd name="T0" fmla="*/ 58 w 58"/>
                    <a:gd name="T1" fmla="*/ 0 h 399"/>
                    <a:gd name="T2" fmla="*/ 6 w 58"/>
                    <a:gd name="T3" fmla="*/ 369 h 399"/>
                    <a:gd name="T4" fmla="*/ 0 w 58"/>
                    <a:gd name="T5" fmla="*/ 399 h 399"/>
                    <a:gd name="T6" fmla="*/ 34 w 58"/>
                    <a:gd name="T7" fmla="*/ 312 h 399"/>
                    <a:gd name="T8" fmla="*/ 29 w 58"/>
                    <a:gd name="T9" fmla="*/ 255 h 399"/>
                    <a:gd name="T10" fmla="*/ 48 w 58"/>
                    <a:gd name="T11" fmla="*/ 139 h 399"/>
                    <a:gd name="T12" fmla="*/ 58 w 5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399">
                      <a:moveTo>
                        <a:pt x="58" y="0"/>
                      </a:moveTo>
                      <a:cubicBezTo>
                        <a:pt x="6" y="369"/>
                        <a:pt x="6" y="369"/>
                        <a:pt x="6" y="369"/>
                      </a:cubicBezTo>
                      <a:cubicBezTo>
                        <a:pt x="0" y="399"/>
                        <a:pt x="0" y="399"/>
                        <a:pt x="0" y="399"/>
                      </a:cubicBezTo>
                      <a:cubicBezTo>
                        <a:pt x="0" y="399"/>
                        <a:pt x="36" y="342"/>
                        <a:pt x="34" y="312"/>
                      </a:cubicBezTo>
                      <a:cubicBezTo>
                        <a:pt x="32" y="282"/>
                        <a:pt x="28" y="282"/>
                        <a:pt x="29" y="255"/>
                      </a:cubicBezTo>
                      <a:cubicBezTo>
                        <a:pt x="31" y="227"/>
                        <a:pt x="46" y="145"/>
                        <a:pt x="48" y="139"/>
                      </a:cubicBezTo>
                      <a:cubicBezTo>
                        <a:pt x="50" y="132"/>
                        <a:pt x="58" y="0"/>
                        <a:pt x="58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8" name="Freeform 183">
                  <a:extLst>
                    <a:ext uri="{FF2B5EF4-FFF2-40B4-BE49-F238E27FC236}">
                      <a16:creationId xmlns:a16="http://schemas.microsoft.com/office/drawing/2014/main" id="{015E9DA8-C484-4CDF-8CD4-95EE19C1CC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33802" y="4038612"/>
                  <a:ext cx="231777" cy="385763"/>
                </a:xfrm>
                <a:custGeom>
                  <a:avLst/>
                  <a:gdLst>
                    <a:gd name="T0" fmla="*/ 62 w 62"/>
                    <a:gd name="T1" fmla="*/ 0 h 103"/>
                    <a:gd name="T2" fmla="*/ 35 w 62"/>
                    <a:gd name="T3" fmla="*/ 31 h 103"/>
                    <a:gd name="T4" fmla="*/ 27 w 62"/>
                    <a:gd name="T5" fmla="*/ 66 h 103"/>
                    <a:gd name="T6" fmla="*/ 6 w 62"/>
                    <a:gd name="T7" fmla="*/ 79 h 103"/>
                    <a:gd name="T8" fmla="*/ 23 w 62"/>
                    <a:gd name="T9" fmla="*/ 30 h 103"/>
                    <a:gd name="T10" fmla="*/ 62 w 62"/>
                    <a:gd name="T1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2" h="103">
                      <a:moveTo>
                        <a:pt x="62" y="0"/>
                      </a:moveTo>
                      <a:cubicBezTo>
                        <a:pt x="62" y="0"/>
                        <a:pt x="37" y="20"/>
                        <a:pt x="35" y="31"/>
                      </a:cubicBezTo>
                      <a:cubicBezTo>
                        <a:pt x="33" y="42"/>
                        <a:pt x="25" y="75"/>
                        <a:pt x="27" y="66"/>
                      </a:cubicBezTo>
                      <a:cubicBezTo>
                        <a:pt x="28" y="58"/>
                        <a:pt x="0" y="103"/>
                        <a:pt x="6" y="79"/>
                      </a:cubicBezTo>
                      <a:cubicBezTo>
                        <a:pt x="12" y="55"/>
                        <a:pt x="14" y="48"/>
                        <a:pt x="23" y="30"/>
                      </a:cubicBezTo>
                      <a:cubicBezTo>
                        <a:pt x="33" y="12"/>
                        <a:pt x="62" y="0"/>
                        <a:pt x="62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9" name="Freeform 184">
                  <a:extLst>
                    <a:ext uri="{FF2B5EF4-FFF2-40B4-BE49-F238E27FC236}">
                      <a16:creationId xmlns:a16="http://schemas.microsoft.com/office/drawing/2014/main" id="{AC9B271D-4E98-4F3D-8006-7FA4E37B4B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5862" y="4581537"/>
                  <a:ext cx="153989" cy="434977"/>
                </a:xfrm>
                <a:custGeom>
                  <a:avLst/>
                  <a:gdLst>
                    <a:gd name="T0" fmla="*/ 41 w 41"/>
                    <a:gd name="T1" fmla="*/ 0 h 116"/>
                    <a:gd name="T2" fmla="*/ 25 w 41"/>
                    <a:gd name="T3" fmla="*/ 47 h 116"/>
                    <a:gd name="T4" fmla="*/ 7 w 41"/>
                    <a:gd name="T5" fmla="*/ 85 h 116"/>
                    <a:gd name="T6" fmla="*/ 36 w 41"/>
                    <a:gd name="T7" fmla="*/ 0 h 116"/>
                    <a:gd name="T8" fmla="*/ 41 w 41"/>
                    <a:gd name="T9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116">
                      <a:moveTo>
                        <a:pt x="41" y="0"/>
                      </a:moveTo>
                      <a:cubicBezTo>
                        <a:pt x="38" y="8"/>
                        <a:pt x="33" y="18"/>
                        <a:pt x="25" y="47"/>
                      </a:cubicBezTo>
                      <a:cubicBezTo>
                        <a:pt x="17" y="75"/>
                        <a:pt x="0" y="116"/>
                        <a:pt x="7" y="85"/>
                      </a:cubicBezTo>
                      <a:cubicBezTo>
                        <a:pt x="15" y="53"/>
                        <a:pt x="31" y="0"/>
                        <a:pt x="36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0" name="Freeform 185">
                  <a:extLst>
                    <a:ext uri="{FF2B5EF4-FFF2-40B4-BE49-F238E27FC236}">
                      <a16:creationId xmlns:a16="http://schemas.microsoft.com/office/drawing/2014/main" id="{EE89A431-03D2-47B3-BD47-F30DE9F033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55988" y="5470541"/>
                  <a:ext cx="274638" cy="165099"/>
                </a:xfrm>
                <a:custGeom>
                  <a:avLst/>
                  <a:gdLst>
                    <a:gd name="T0" fmla="*/ 0 w 73"/>
                    <a:gd name="T1" fmla="*/ 41 h 44"/>
                    <a:gd name="T2" fmla="*/ 37 w 73"/>
                    <a:gd name="T3" fmla="*/ 29 h 44"/>
                    <a:gd name="T4" fmla="*/ 68 w 73"/>
                    <a:gd name="T5" fmla="*/ 29 h 44"/>
                    <a:gd name="T6" fmla="*/ 50 w 73"/>
                    <a:gd name="T7" fmla="*/ 0 h 44"/>
                    <a:gd name="T8" fmla="*/ 0 w 73"/>
                    <a:gd name="T9" fmla="*/ 41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4">
                      <a:moveTo>
                        <a:pt x="0" y="41"/>
                      </a:moveTo>
                      <a:cubicBezTo>
                        <a:pt x="0" y="41"/>
                        <a:pt x="8" y="27"/>
                        <a:pt x="37" y="29"/>
                      </a:cubicBezTo>
                      <a:cubicBezTo>
                        <a:pt x="65" y="31"/>
                        <a:pt x="66" y="44"/>
                        <a:pt x="68" y="29"/>
                      </a:cubicBezTo>
                      <a:cubicBezTo>
                        <a:pt x="70" y="14"/>
                        <a:pt x="73" y="0"/>
                        <a:pt x="50" y="0"/>
                      </a:cubicBezTo>
                      <a:cubicBezTo>
                        <a:pt x="27" y="0"/>
                        <a:pt x="0" y="41"/>
                        <a:pt x="0" y="41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1" name="Freeform 186">
                  <a:extLst>
                    <a:ext uri="{FF2B5EF4-FFF2-40B4-BE49-F238E27FC236}">
                      <a16:creationId xmlns:a16="http://schemas.microsoft.com/office/drawing/2014/main" id="{49356203-E4A5-4B83-9D62-34C3A988E5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9451" y="5111766"/>
                  <a:ext cx="139699" cy="265114"/>
                </a:xfrm>
                <a:custGeom>
                  <a:avLst/>
                  <a:gdLst>
                    <a:gd name="T0" fmla="*/ 16 w 37"/>
                    <a:gd name="T1" fmla="*/ 2 h 71"/>
                    <a:gd name="T2" fmla="*/ 31 w 37"/>
                    <a:gd name="T3" fmla="*/ 31 h 71"/>
                    <a:gd name="T4" fmla="*/ 24 w 37"/>
                    <a:gd name="T5" fmla="*/ 42 h 71"/>
                    <a:gd name="T6" fmla="*/ 3 w 37"/>
                    <a:gd name="T7" fmla="*/ 7 h 71"/>
                    <a:gd name="T8" fmla="*/ 16 w 37"/>
                    <a:gd name="T9" fmla="*/ 2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71">
                      <a:moveTo>
                        <a:pt x="16" y="2"/>
                      </a:moveTo>
                      <a:cubicBezTo>
                        <a:pt x="24" y="6"/>
                        <a:pt x="32" y="19"/>
                        <a:pt x="31" y="31"/>
                      </a:cubicBezTo>
                      <a:cubicBezTo>
                        <a:pt x="30" y="43"/>
                        <a:pt x="37" y="71"/>
                        <a:pt x="24" y="42"/>
                      </a:cubicBezTo>
                      <a:cubicBezTo>
                        <a:pt x="11" y="14"/>
                        <a:pt x="0" y="14"/>
                        <a:pt x="3" y="7"/>
                      </a:cubicBezTo>
                      <a:cubicBezTo>
                        <a:pt x="6" y="0"/>
                        <a:pt x="16" y="2"/>
                        <a:pt x="16" y="2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2" name="Freeform 187">
                  <a:extLst>
                    <a:ext uri="{FF2B5EF4-FFF2-40B4-BE49-F238E27FC236}">
                      <a16:creationId xmlns:a16="http://schemas.microsoft.com/office/drawing/2014/main" id="{8E719FAF-2AE7-46B9-837D-0E71541719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7834" y="4159261"/>
                  <a:ext cx="322265" cy="741365"/>
                </a:xfrm>
                <a:custGeom>
                  <a:avLst/>
                  <a:gdLst>
                    <a:gd name="T0" fmla="*/ 0 w 86"/>
                    <a:gd name="T1" fmla="*/ 0 h 198"/>
                    <a:gd name="T2" fmla="*/ 38 w 86"/>
                    <a:gd name="T3" fmla="*/ 16 h 198"/>
                    <a:gd name="T4" fmla="*/ 51 w 86"/>
                    <a:gd name="T5" fmla="*/ 54 h 198"/>
                    <a:gd name="T6" fmla="*/ 36 w 86"/>
                    <a:gd name="T7" fmla="*/ 54 h 198"/>
                    <a:gd name="T8" fmla="*/ 70 w 86"/>
                    <a:gd name="T9" fmla="*/ 161 h 198"/>
                    <a:gd name="T10" fmla="*/ 37 w 86"/>
                    <a:gd name="T11" fmla="*/ 132 h 198"/>
                    <a:gd name="T12" fmla="*/ 36 w 86"/>
                    <a:gd name="T13" fmla="*/ 198 h 198"/>
                    <a:gd name="T14" fmla="*/ 16 w 86"/>
                    <a:gd name="T15" fmla="*/ 96 h 198"/>
                    <a:gd name="T16" fmla="*/ 0 w 86"/>
                    <a:gd name="T17" fmla="*/ 28 h 198"/>
                    <a:gd name="T18" fmla="*/ 0 w 86"/>
                    <a:gd name="T19" fmla="*/ 0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6" h="198">
                      <a:moveTo>
                        <a:pt x="0" y="0"/>
                      </a:moveTo>
                      <a:cubicBezTo>
                        <a:pt x="0" y="0"/>
                        <a:pt x="32" y="2"/>
                        <a:pt x="38" y="16"/>
                      </a:cubicBezTo>
                      <a:cubicBezTo>
                        <a:pt x="44" y="31"/>
                        <a:pt x="66" y="67"/>
                        <a:pt x="51" y="54"/>
                      </a:cubicBezTo>
                      <a:cubicBezTo>
                        <a:pt x="36" y="41"/>
                        <a:pt x="17" y="24"/>
                        <a:pt x="36" y="54"/>
                      </a:cubicBezTo>
                      <a:cubicBezTo>
                        <a:pt x="54" y="84"/>
                        <a:pt x="86" y="181"/>
                        <a:pt x="70" y="161"/>
                      </a:cubicBezTo>
                      <a:cubicBezTo>
                        <a:pt x="55" y="141"/>
                        <a:pt x="39" y="108"/>
                        <a:pt x="37" y="132"/>
                      </a:cubicBezTo>
                      <a:cubicBezTo>
                        <a:pt x="36" y="156"/>
                        <a:pt x="36" y="198"/>
                        <a:pt x="36" y="198"/>
                      </a:cubicBezTo>
                      <a:cubicBezTo>
                        <a:pt x="16" y="96"/>
                        <a:pt x="16" y="96"/>
                        <a:pt x="16" y="96"/>
                      </a:cubicBezTo>
                      <a:cubicBezTo>
                        <a:pt x="0" y="28"/>
                        <a:pt x="0" y="28"/>
                        <a:pt x="0" y="2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3" name="Freeform 157">
                  <a:extLst>
                    <a:ext uri="{FF2B5EF4-FFF2-40B4-BE49-F238E27FC236}">
                      <a16:creationId xmlns:a16="http://schemas.microsoft.com/office/drawing/2014/main" id="{9A578AFD-182C-4A02-A315-030AF822B3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5160" y="960441"/>
                  <a:ext cx="584203" cy="1049339"/>
                </a:xfrm>
                <a:custGeom>
                  <a:avLst/>
                  <a:gdLst>
                    <a:gd name="T0" fmla="*/ 0 w 156"/>
                    <a:gd name="T1" fmla="*/ 112 h 280"/>
                    <a:gd name="T2" fmla="*/ 0 w 156"/>
                    <a:gd name="T3" fmla="*/ 104 h 280"/>
                    <a:gd name="T4" fmla="*/ 11 w 156"/>
                    <a:gd name="T5" fmla="*/ 96 h 280"/>
                    <a:gd name="T6" fmla="*/ 4 w 156"/>
                    <a:gd name="T7" fmla="*/ 46 h 280"/>
                    <a:gd name="T8" fmla="*/ 28 w 156"/>
                    <a:gd name="T9" fmla="*/ 22 h 280"/>
                    <a:gd name="T10" fmla="*/ 59 w 156"/>
                    <a:gd name="T11" fmla="*/ 4 h 280"/>
                    <a:gd name="T12" fmla="*/ 108 w 156"/>
                    <a:gd name="T13" fmla="*/ 6 h 280"/>
                    <a:gd name="T14" fmla="*/ 138 w 156"/>
                    <a:gd name="T15" fmla="*/ 93 h 280"/>
                    <a:gd name="T16" fmla="*/ 143 w 156"/>
                    <a:gd name="T17" fmla="*/ 99 h 280"/>
                    <a:gd name="T18" fmla="*/ 131 w 156"/>
                    <a:gd name="T19" fmla="*/ 140 h 280"/>
                    <a:gd name="T20" fmla="*/ 122 w 156"/>
                    <a:gd name="T21" fmla="*/ 147 h 280"/>
                    <a:gd name="T22" fmla="*/ 114 w 156"/>
                    <a:gd name="T23" fmla="*/ 215 h 280"/>
                    <a:gd name="T24" fmla="*/ 80 w 156"/>
                    <a:gd name="T25" fmla="*/ 280 h 280"/>
                    <a:gd name="T26" fmla="*/ 56 w 156"/>
                    <a:gd name="T27" fmla="*/ 267 h 280"/>
                    <a:gd name="T28" fmla="*/ 44 w 156"/>
                    <a:gd name="T29" fmla="*/ 241 h 280"/>
                    <a:gd name="T30" fmla="*/ 24 w 156"/>
                    <a:gd name="T31" fmla="*/ 188 h 280"/>
                    <a:gd name="T32" fmla="*/ 24 w 156"/>
                    <a:gd name="T33" fmla="*/ 150 h 280"/>
                    <a:gd name="T34" fmla="*/ 12 w 156"/>
                    <a:gd name="T35" fmla="*/ 137 h 280"/>
                    <a:gd name="T36" fmla="*/ 0 w 156"/>
                    <a:gd name="T37" fmla="*/ 112 h 2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6" h="280">
                      <a:moveTo>
                        <a:pt x="0" y="112"/>
                      </a:moveTo>
                      <a:cubicBezTo>
                        <a:pt x="0" y="109"/>
                        <a:pt x="0" y="107"/>
                        <a:pt x="0" y="104"/>
                      </a:cubicBezTo>
                      <a:cubicBezTo>
                        <a:pt x="3" y="101"/>
                        <a:pt x="3" y="94"/>
                        <a:pt x="11" y="96"/>
                      </a:cubicBezTo>
                      <a:cubicBezTo>
                        <a:pt x="6" y="80"/>
                        <a:pt x="6" y="64"/>
                        <a:pt x="4" y="46"/>
                      </a:cubicBezTo>
                      <a:cubicBezTo>
                        <a:pt x="8" y="36"/>
                        <a:pt x="19" y="30"/>
                        <a:pt x="28" y="22"/>
                      </a:cubicBezTo>
                      <a:cubicBezTo>
                        <a:pt x="38" y="16"/>
                        <a:pt x="47" y="7"/>
                        <a:pt x="59" y="4"/>
                      </a:cubicBezTo>
                      <a:cubicBezTo>
                        <a:pt x="72" y="0"/>
                        <a:pt x="89" y="6"/>
                        <a:pt x="108" y="6"/>
                      </a:cubicBezTo>
                      <a:cubicBezTo>
                        <a:pt x="134" y="19"/>
                        <a:pt x="156" y="55"/>
                        <a:pt x="138" y="93"/>
                      </a:cubicBezTo>
                      <a:cubicBezTo>
                        <a:pt x="137" y="97"/>
                        <a:pt x="145" y="96"/>
                        <a:pt x="143" y="99"/>
                      </a:cubicBezTo>
                      <a:cubicBezTo>
                        <a:pt x="149" y="115"/>
                        <a:pt x="135" y="128"/>
                        <a:pt x="131" y="140"/>
                      </a:cubicBezTo>
                      <a:cubicBezTo>
                        <a:pt x="130" y="142"/>
                        <a:pt x="126" y="146"/>
                        <a:pt x="122" y="147"/>
                      </a:cubicBezTo>
                      <a:cubicBezTo>
                        <a:pt x="122" y="170"/>
                        <a:pt x="121" y="196"/>
                        <a:pt x="114" y="215"/>
                      </a:cubicBezTo>
                      <a:cubicBezTo>
                        <a:pt x="108" y="240"/>
                        <a:pt x="102" y="273"/>
                        <a:pt x="80" y="280"/>
                      </a:cubicBezTo>
                      <a:cubicBezTo>
                        <a:pt x="72" y="274"/>
                        <a:pt x="61" y="274"/>
                        <a:pt x="56" y="267"/>
                      </a:cubicBezTo>
                      <a:cubicBezTo>
                        <a:pt x="51" y="260"/>
                        <a:pt x="48" y="249"/>
                        <a:pt x="44" y="241"/>
                      </a:cubicBezTo>
                      <a:cubicBezTo>
                        <a:pt x="38" y="226"/>
                        <a:pt x="27" y="204"/>
                        <a:pt x="24" y="188"/>
                      </a:cubicBezTo>
                      <a:cubicBezTo>
                        <a:pt x="22" y="175"/>
                        <a:pt x="27" y="161"/>
                        <a:pt x="24" y="150"/>
                      </a:cubicBezTo>
                      <a:cubicBezTo>
                        <a:pt x="22" y="140"/>
                        <a:pt x="18" y="144"/>
                        <a:pt x="12" y="137"/>
                      </a:cubicBezTo>
                      <a:cubicBezTo>
                        <a:pt x="7" y="130"/>
                        <a:pt x="4" y="118"/>
                        <a:pt x="0" y="112"/>
                      </a:cubicBezTo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4" name="Freeform 158">
                  <a:extLst>
                    <a:ext uri="{FF2B5EF4-FFF2-40B4-BE49-F238E27FC236}">
                      <a16:creationId xmlns:a16="http://schemas.microsoft.com/office/drawing/2014/main" id="{99E5C3A0-769D-4E96-B17E-8524682F393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49535" y="3479810"/>
                  <a:ext cx="255587" cy="434977"/>
                </a:xfrm>
                <a:custGeom>
                  <a:avLst/>
                  <a:gdLst>
                    <a:gd name="T0" fmla="*/ 63 w 68"/>
                    <a:gd name="T1" fmla="*/ 116 h 116"/>
                    <a:gd name="T2" fmla="*/ 60 w 68"/>
                    <a:gd name="T3" fmla="*/ 116 h 116"/>
                    <a:gd name="T4" fmla="*/ 16 w 68"/>
                    <a:gd name="T5" fmla="*/ 98 h 116"/>
                    <a:gd name="T6" fmla="*/ 0 w 68"/>
                    <a:gd name="T7" fmla="*/ 23 h 116"/>
                    <a:gd name="T8" fmla="*/ 55 w 68"/>
                    <a:gd name="T9" fmla="*/ 16 h 116"/>
                    <a:gd name="T10" fmla="*/ 68 w 68"/>
                    <a:gd name="T11" fmla="*/ 91 h 116"/>
                    <a:gd name="T12" fmla="*/ 62 w 68"/>
                    <a:gd name="T13" fmla="*/ 103 h 116"/>
                    <a:gd name="T14" fmla="*/ 63 w 68"/>
                    <a:gd name="T15" fmla="*/ 116 h 116"/>
                    <a:gd name="T16" fmla="*/ 38 w 68"/>
                    <a:gd name="T17" fmla="*/ 65 h 116"/>
                    <a:gd name="T18" fmla="*/ 54 w 68"/>
                    <a:gd name="T19" fmla="*/ 91 h 116"/>
                    <a:gd name="T20" fmla="*/ 44 w 68"/>
                    <a:gd name="T21" fmla="*/ 60 h 116"/>
                    <a:gd name="T22" fmla="*/ 38 w 68"/>
                    <a:gd name="T23" fmla="*/ 65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8" h="116">
                      <a:moveTo>
                        <a:pt x="63" y="116"/>
                      </a:moveTo>
                      <a:cubicBezTo>
                        <a:pt x="62" y="116"/>
                        <a:pt x="60" y="116"/>
                        <a:pt x="60" y="116"/>
                      </a:cubicBezTo>
                      <a:cubicBezTo>
                        <a:pt x="46" y="108"/>
                        <a:pt x="26" y="108"/>
                        <a:pt x="16" y="98"/>
                      </a:cubicBezTo>
                      <a:cubicBezTo>
                        <a:pt x="0" y="81"/>
                        <a:pt x="0" y="56"/>
                        <a:pt x="0" y="23"/>
                      </a:cubicBezTo>
                      <a:cubicBezTo>
                        <a:pt x="12" y="8"/>
                        <a:pt x="40" y="0"/>
                        <a:pt x="55" y="16"/>
                      </a:cubicBezTo>
                      <a:cubicBezTo>
                        <a:pt x="60" y="40"/>
                        <a:pt x="62" y="69"/>
                        <a:pt x="68" y="91"/>
                      </a:cubicBezTo>
                      <a:cubicBezTo>
                        <a:pt x="68" y="98"/>
                        <a:pt x="59" y="95"/>
                        <a:pt x="62" y="103"/>
                      </a:cubicBezTo>
                      <a:cubicBezTo>
                        <a:pt x="66" y="106"/>
                        <a:pt x="67" y="110"/>
                        <a:pt x="63" y="116"/>
                      </a:cubicBezTo>
                      <a:close/>
                      <a:moveTo>
                        <a:pt x="38" y="65"/>
                      </a:moveTo>
                      <a:cubicBezTo>
                        <a:pt x="40" y="75"/>
                        <a:pt x="38" y="93"/>
                        <a:pt x="54" y="91"/>
                      </a:cubicBezTo>
                      <a:cubicBezTo>
                        <a:pt x="47" y="85"/>
                        <a:pt x="50" y="69"/>
                        <a:pt x="44" y="60"/>
                      </a:cubicBezTo>
                      <a:cubicBezTo>
                        <a:pt x="43" y="64"/>
                        <a:pt x="38" y="61"/>
                        <a:pt x="38" y="6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5" name="Freeform 161">
                  <a:extLst>
                    <a:ext uri="{FF2B5EF4-FFF2-40B4-BE49-F238E27FC236}">
                      <a16:creationId xmlns:a16="http://schemas.microsoft.com/office/drawing/2014/main" id="{51611C97-401A-4E66-842E-83BC8361EE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9451" y="1695456"/>
                  <a:ext cx="525465" cy="1109667"/>
                </a:xfrm>
                <a:custGeom>
                  <a:avLst/>
                  <a:gdLst>
                    <a:gd name="T0" fmla="*/ 139 w 140"/>
                    <a:gd name="T1" fmla="*/ 64 h 296"/>
                    <a:gd name="T2" fmla="*/ 139 w 140"/>
                    <a:gd name="T3" fmla="*/ 71 h 296"/>
                    <a:gd name="T4" fmla="*/ 138 w 140"/>
                    <a:gd name="T5" fmla="*/ 71 h 296"/>
                    <a:gd name="T6" fmla="*/ 93 w 140"/>
                    <a:gd name="T7" fmla="*/ 296 h 296"/>
                    <a:gd name="T8" fmla="*/ 84 w 140"/>
                    <a:gd name="T9" fmla="*/ 296 h 296"/>
                    <a:gd name="T10" fmla="*/ 75 w 140"/>
                    <a:gd name="T11" fmla="*/ 294 h 296"/>
                    <a:gd name="T12" fmla="*/ 63 w 140"/>
                    <a:gd name="T13" fmla="*/ 261 h 296"/>
                    <a:gd name="T14" fmla="*/ 33 w 140"/>
                    <a:gd name="T15" fmla="*/ 170 h 296"/>
                    <a:gd name="T16" fmla="*/ 0 w 140"/>
                    <a:gd name="T17" fmla="*/ 34 h 296"/>
                    <a:gd name="T18" fmla="*/ 0 w 140"/>
                    <a:gd name="T19" fmla="*/ 27 h 296"/>
                    <a:gd name="T20" fmla="*/ 16 w 140"/>
                    <a:gd name="T21" fmla="*/ 0 h 296"/>
                    <a:gd name="T22" fmla="*/ 67 w 140"/>
                    <a:gd name="T23" fmla="*/ 34 h 296"/>
                    <a:gd name="T24" fmla="*/ 70 w 140"/>
                    <a:gd name="T25" fmla="*/ 68 h 296"/>
                    <a:gd name="T26" fmla="*/ 81 w 140"/>
                    <a:gd name="T27" fmla="*/ 61 h 296"/>
                    <a:gd name="T28" fmla="*/ 76 w 140"/>
                    <a:gd name="T29" fmla="*/ 43 h 296"/>
                    <a:gd name="T30" fmla="*/ 110 w 140"/>
                    <a:gd name="T31" fmla="*/ 11 h 296"/>
                    <a:gd name="T32" fmla="*/ 121 w 140"/>
                    <a:gd name="T33" fmla="*/ 3 h 296"/>
                    <a:gd name="T34" fmla="*/ 139 w 140"/>
                    <a:gd name="T35" fmla="*/ 64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40" h="296">
                      <a:moveTo>
                        <a:pt x="139" y="64"/>
                      </a:moveTo>
                      <a:cubicBezTo>
                        <a:pt x="139" y="67"/>
                        <a:pt x="139" y="68"/>
                        <a:pt x="139" y="71"/>
                      </a:cubicBezTo>
                      <a:cubicBezTo>
                        <a:pt x="138" y="71"/>
                        <a:pt x="138" y="71"/>
                        <a:pt x="138" y="71"/>
                      </a:cubicBezTo>
                      <a:cubicBezTo>
                        <a:pt x="125" y="148"/>
                        <a:pt x="108" y="221"/>
                        <a:pt x="93" y="296"/>
                      </a:cubicBezTo>
                      <a:cubicBezTo>
                        <a:pt x="90" y="296"/>
                        <a:pt x="87" y="296"/>
                        <a:pt x="84" y="296"/>
                      </a:cubicBezTo>
                      <a:cubicBezTo>
                        <a:pt x="85" y="294"/>
                        <a:pt x="78" y="296"/>
                        <a:pt x="75" y="294"/>
                      </a:cubicBezTo>
                      <a:cubicBezTo>
                        <a:pt x="72" y="291"/>
                        <a:pt x="67" y="273"/>
                        <a:pt x="63" y="261"/>
                      </a:cubicBezTo>
                      <a:cubicBezTo>
                        <a:pt x="53" y="231"/>
                        <a:pt x="42" y="201"/>
                        <a:pt x="33" y="170"/>
                      </a:cubicBezTo>
                      <a:cubicBezTo>
                        <a:pt x="18" y="118"/>
                        <a:pt x="8" y="74"/>
                        <a:pt x="0" y="34"/>
                      </a:cubicBezTo>
                      <a:cubicBezTo>
                        <a:pt x="0" y="32"/>
                        <a:pt x="0" y="29"/>
                        <a:pt x="0" y="27"/>
                      </a:cubicBezTo>
                      <a:cubicBezTo>
                        <a:pt x="3" y="16"/>
                        <a:pt x="3" y="0"/>
                        <a:pt x="16" y="0"/>
                      </a:cubicBezTo>
                      <a:cubicBezTo>
                        <a:pt x="31" y="13"/>
                        <a:pt x="49" y="23"/>
                        <a:pt x="67" y="34"/>
                      </a:cubicBezTo>
                      <a:cubicBezTo>
                        <a:pt x="74" y="43"/>
                        <a:pt x="71" y="56"/>
                        <a:pt x="70" y="68"/>
                      </a:cubicBezTo>
                      <a:cubicBezTo>
                        <a:pt x="75" y="68"/>
                        <a:pt x="80" y="64"/>
                        <a:pt x="81" y="61"/>
                      </a:cubicBezTo>
                      <a:cubicBezTo>
                        <a:pt x="80" y="62"/>
                        <a:pt x="72" y="49"/>
                        <a:pt x="76" y="43"/>
                      </a:cubicBezTo>
                      <a:cubicBezTo>
                        <a:pt x="87" y="33"/>
                        <a:pt x="98" y="22"/>
                        <a:pt x="110" y="11"/>
                      </a:cubicBezTo>
                      <a:cubicBezTo>
                        <a:pt x="114" y="8"/>
                        <a:pt x="116" y="0"/>
                        <a:pt x="121" y="3"/>
                      </a:cubicBezTo>
                      <a:cubicBezTo>
                        <a:pt x="140" y="11"/>
                        <a:pt x="134" y="43"/>
                        <a:pt x="139" y="64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6" name="Freeform 162">
                  <a:extLst>
                    <a:ext uri="{FF2B5EF4-FFF2-40B4-BE49-F238E27FC236}">
                      <a16:creationId xmlns:a16="http://schemas.microsoft.com/office/drawing/2014/main" id="{6F524D88-81F4-4A69-841A-5608B4CF47F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19371" y="1709743"/>
                  <a:ext cx="1695457" cy="2039945"/>
                </a:xfrm>
                <a:custGeom>
                  <a:avLst/>
                  <a:gdLst>
                    <a:gd name="T0" fmla="*/ 289 w 452"/>
                    <a:gd name="T1" fmla="*/ 0 h 544"/>
                    <a:gd name="T2" fmla="*/ 293 w 452"/>
                    <a:gd name="T3" fmla="*/ 0 h 544"/>
                    <a:gd name="T4" fmla="*/ 403 w 452"/>
                    <a:gd name="T5" fmla="*/ 35 h 544"/>
                    <a:gd name="T6" fmla="*/ 413 w 452"/>
                    <a:gd name="T7" fmla="*/ 78 h 544"/>
                    <a:gd name="T8" fmla="*/ 414 w 452"/>
                    <a:gd name="T9" fmla="*/ 130 h 544"/>
                    <a:gd name="T10" fmla="*/ 421 w 452"/>
                    <a:gd name="T11" fmla="*/ 163 h 544"/>
                    <a:gd name="T12" fmla="*/ 424 w 452"/>
                    <a:gd name="T13" fmla="*/ 225 h 544"/>
                    <a:gd name="T14" fmla="*/ 446 w 452"/>
                    <a:gd name="T15" fmla="*/ 341 h 544"/>
                    <a:gd name="T16" fmla="*/ 452 w 452"/>
                    <a:gd name="T17" fmla="*/ 475 h 544"/>
                    <a:gd name="T18" fmla="*/ 439 w 452"/>
                    <a:gd name="T19" fmla="*/ 471 h 544"/>
                    <a:gd name="T20" fmla="*/ 395 w 452"/>
                    <a:gd name="T21" fmla="*/ 476 h 544"/>
                    <a:gd name="T22" fmla="*/ 395 w 452"/>
                    <a:gd name="T23" fmla="*/ 513 h 544"/>
                    <a:gd name="T24" fmla="*/ 340 w 452"/>
                    <a:gd name="T25" fmla="*/ 517 h 544"/>
                    <a:gd name="T26" fmla="*/ 289 w 452"/>
                    <a:gd name="T27" fmla="*/ 470 h 544"/>
                    <a:gd name="T28" fmla="*/ 248 w 452"/>
                    <a:gd name="T29" fmla="*/ 372 h 544"/>
                    <a:gd name="T30" fmla="*/ 206 w 452"/>
                    <a:gd name="T31" fmla="*/ 527 h 544"/>
                    <a:gd name="T32" fmla="*/ 70 w 452"/>
                    <a:gd name="T33" fmla="*/ 523 h 544"/>
                    <a:gd name="T34" fmla="*/ 70 w 452"/>
                    <a:gd name="T35" fmla="*/ 499 h 544"/>
                    <a:gd name="T36" fmla="*/ 56 w 452"/>
                    <a:gd name="T37" fmla="*/ 486 h 544"/>
                    <a:gd name="T38" fmla="*/ 4 w 452"/>
                    <a:gd name="T39" fmla="*/ 499 h 544"/>
                    <a:gd name="T40" fmla="*/ 4 w 452"/>
                    <a:gd name="T41" fmla="*/ 364 h 544"/>
                    <a:gd name="T42" fmla="*/ 12 w 452"/>
                    <a:gd name="T43" fmla="*/ 322 h 544"/>
                    <a:gd name="T44" fmla="*/ 16 w 452"/>
                    <a:gd name="T45" fmla="*/ 264 h 544"/>
                    <a:gd name="T46" fmla="*/ 33 w 452"/>
                    <a:gd name="T47" fmla="*/ 124 h 544"/>
                    <a:gd name="T48" fmla="*/ 49 w 452"/>
                    <a:gd name="T49" fmla="*/ 44 h 544"/>
                    <a:gd name="T50" fmla="*/ 107 w 452"/>
                    <a:gd name="T51" fmla="*/ 25 h 544"/>
                    <a:gd name="T52" fmla="*/ 163 w 452"/>
                    <a:gd name="T53" fmla="*/ 4 h 544"/>
                    <a:gd name="T54" fmla="*/ 196 w 452"/>
                    <a:gd name="T55" fmla="*/ 153 h 544"/>
                    <a:gd name="T56" fmla="*/ 228 w 452"/>
                    <a:gd name="T57" fmla="*/ 255 h 544"/>
                    <a:gd name="T58" fmla="*/ 244 w 452"/>
                    <a:gd name="T59" fmla="*/ 285 h 544"/>
                    <a:gd name="T60" fmla="*/ 251 w 452"/>
                    <a:gd name="T61" fmla="*/ 265 h 544"/>
                    <a:gd name="T62" fmla="*/ 256 w 452"/>
                    <a:gd name="T63" fmla="*/ 242 h 544"/>
                    <a:gd name="T64" fmla="*/ 285 w 452"/>
                    <a:gd name="T65" fmla="*/ 109 h 544"/>
                    <a:gd name="T66" fmla="*/ 289 w 452"/>
                    <a:gd name="T67" fmla="*/ 0 h 544"/>
                    <a:gd name="T68" fmla="*/ 80 w 452"/>
                    <a:gd name="T69" fmla="*/ 314 h 544"/>
                    <a:gd name="T70" fmla="*/ 80 w 452"/>
                    <a:gd name="T71" fmla="*/ 344 h 544"/>
                    <a:gd name="T72" fmla="*/ 80 w 452"/>
                    <a:gd name="T73" fmla="*/ 383 h 544"/>
                    <a:gd name="T74" fmla="*/ 92 w 452"/>
                    <a:gd name="T75" fmla="*/ 332 h 544"/>
                    <a:gd name="T76" fmla="*/ 92 w 452"/>
                    <a:gd name="T77" fmla="*/ 265 h 544"/>
                    <a:gd name="T78" fmla="*/ 80 w 452"/>
                    <a:gd name="T79" fmla="*/ 314 h 5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452" h="544">
                      <a:moveTo>
                        <a:pt x="289" y="0"/>
                      </a:moveTo>
                      <a:cubicBezTo>
                        <a:pt x="290" y="0"/>
                        <a:pt x="291" y="0"/>
                        <a:pt x="293" y="0"/>
                      </a:cubicBezTo>
                      <a:cubicBezTo>
                        <a:pt x="329" y="13"/>
                        <a:pt x="366" y="25"/>
                        <a:pt x="403" y="35"/>
                      </a:cubicBezTo>
                      <a:cubicBezTo>
                        <a:pt x="405" y="50"/>
                        <a:pt x="411" y="63"/>
                        <a:pt x="413" y="78"/>
                      </a:cubicBezTo>
                      <a:cubicBezTo>
                        <a:pt x="414" y="95"/>
                        <a:pt x="413" y="112"/>
                        <a:pt x="414" y="130"/>
                      </a:cubicBezTo>
                      <a:cubicBezTo>
                        <a:pt x="414" y="142"/>
                        <a:pt x="420" y="152"/>
                        <a:pt x="421" y="163"/>
                      </a:cubicBezTo>
                      <a:cubicBezTo>
                        <a:pt x="422" y="185"/>
                        <a:pt x="421" y="205"/>
                        <a:pt x="424" y="225"/>
                      </a:cubicBezTo>
                      <a:cubicBezTo>
                        <a:pt x="429" y="265"/>
                        <a:pt x="441" y="302"/>
                        <a:pt x="446" y="341"/>
                      </a:cubicBezTo>
                      <a:cubicBezTo>
                        <a:pt x="451" y="384"/>
                        <a:pt x="449" y="426"/>
                        <a:pt x="452" y="475"/>
                      </a:cubicBezTo>
                      <a:cubicBezTo>
                        <a:pt x="450" y="480"/>
                        <a:pt x="443" y="472"/>
                        <a:pt x="439" y="471"/>
                      </a:cubicBezTo>
                      <a:cubicBezTo>
                        <a:pt x="424" y="467"/>
                        <a:pt x="404" y="467"/>
                        <a:pt x="395" y="476"/>
                      </a:cubicBezTo>
                      <a:cubicBezTo>
                        <a:pt x="395" y="489"/>
                        <a:pt x="395" y="500"/>
                        <a:pt x="395" y="513"/>
                      </a:cubicBezTo>
                      <a:cubicBezTo>
                        <a:pt x="375" y="513"/>
                        <a:pt x="357" y="519"/>
                        <a:pt x="340" y="517"/>
                      </a:cubicBezTo>
                      <a:cubicBezTo>
                        <a:pt x="312" y="514"/>
                        <a:pt x="301" y="490"/>
                        <a:pt x="289" y="470"/>
                      </a:cubicBezTo>
                      <a:cubicBezTo>
                        <a:pt x="273" y="443"/>
                        <a:pt x="256" y="400"/>
                        <a:pt x="248" y="372"/>
                      </a:cubicBezTo>
                      <a:cubicBezTo>
                        <a:pt x="238" y="428"/>
                        <a:pt x="235" y="489"/>
                        <a:pt x="206" y="527"/>
                      </a:cubicBezTo>
                      <a:cubicBezTo>
                        <a:pt x="171" y="544"/>
                        <a:pt x="108" y="532"/>
                        <a:pt x="70" y="523"/>
                      </a:cubicBezTo>
                      <a:cubicBezTo>
                        <a:pt x="70" y="515"/>
                        <a:pt x="70" y="506"/>
                        <a:pt x="70" y="499"/>
                      </a:cubicBezTo>
                      <a:cubicBezTo>
                        <a:pt x="63" y="501"/>
                        <a:pt x="61" y="490"/>
                        <a:pt x="56" y="486"/>
                      </a:cubicBezTo>
                      <a:cubicBezTo>
                        <a:pt x="35" y="486"/>
                        <a:pt x="19" y="492"/>
                        <a:pt x="4" y="499"/>
                      </a:cubicBezTo>
                      <a:cubicBezTo>
                        <a:pt x="7" y="454"/>
                        <a:pt x="0" y="410"/>
                        <a:pt x="4" y="364"/>
                      </a:cubicBezTo>
                      <a:cubicBezTo>
                        <a:pt x="4" y="350"/>
                        <a:pt x="10" y="336"/>
                        <a:pt x="12" y="322"/>
                      </a:cubicBezTo>
                      <a:cubicBezTo>
                        <a:pt x="14" y="303"/>
                        <a:pt x="14" y="283"/>
                        <a:pt x="16" y="264"/>
                      </a:cubicBezTo>
                      <a:cubicBezTo>
                        <a:pt x="23" y="218"/>
                        <a:pt x="24" y="170"/>
                        <a:pt x="33" y="124"/>
                      </a:cubicBezTo>
                      <a:cubicBezTo>
                        <a:pt x="40" y="97"/>
                        <a:pt x="41" y="69"/>
                        <a:pt x="49" y="44"/>
                      </a:cubicBezTo>
                      <a:cubicBezTo>
                        <a:pt x="67" y="35"/>
                        <a:pt x="87" y="31"/>
                        <a:pt x="107" y="25"/>
                      </a:cubicBezTo>
                      <a:cubicBezTo>
                        <a:pt x="125" y="17"/>
                        <a:pt x="143" y="9"/>
                        <a:pt x="163" y="4"/>
                      </a:cubicBezTo>
                      <a:cubicBezTo>
                        <a:pt x="175" y="54"/>
                        <a:pt x="184" y="105"/>
                        <a:pt x="196" y="153"/>
                      </a:cubicBezTo>
                      <a:cubicBezTo>
                        <a:pt x="205" y="189"/>
                        <a:pt x="217" y="223"/>
                        <a:pt x="228" y="255"/>
                      </a:cubicBezTo>
                      <a:cubicBezTo>
                        <a:pt x="232" y="265"/>
                        <a:pt x="235" y="279"/>
                        <a:pt x="244" y="285"/>
                      </a:cubicBezTo>
                      <a:cubicBezTo>
                        <a:pt x="251" y="280"/>
                        <a:pt x="249" y="271"/>
                        <a:pt x="251" y="265"/>
                      </a:cubicBezTo>
                      <a:cubicBezTo>
                        <a:pt x="252" y="257"/>
                        <a:pt x="253" y="250"/>
                        <a:pt x="256" y="242"/>
                      </a:cubicBezTo>
                      <a:cubicBezTo>
                        <a:pt x="265" y="196"/>
                        <a:pt x="278" y="154"/>
                        <a:pt x="285" y="109"/>
                      </a:cubicBezTo>
                      <a:cubicBezTo>
                        <a:pt x="290" y="75"/>
                        <a:pt x="286" y="35"/>
                        <a:pt x="289" y="0"/>
                      </a:cubicBezTo>
                      <a:close/>
                      <a:moveTo>
                        <a:pt x="80" y="314"/>
                      </a:moveTo>
                      <a:cubicBezTo>
                        <a:pt x="79" y="323"/>
                        <a:pt x="82" y="334"/>
                        <a:pt x="80" y="344"/>
                      </a:cubicBezTo>
                      <a:cubicBezTo>
                        <a:pt x="80" y="356"/>
                        <a:pt x="76" y="370"/>
                        <a:pt x="80" y="383"/>
                      </a:cubicBezTo>
                      <a:cubicBezTo>
                        <a:pt x="84" y="367"/>
                        <a:pt x="88" y="350"/>
                        <a:pt x="92" y="332"/>
                      </a:cubicBezTo>
                      <a:cubicBezTo>
                        <a:pt x="96" y="313"/>
                        <a:pt x="101" y="281"/>
                        <a:pt x="92" y="265"/>
                      </a:cubicBezTo>
                      <a:cubicBezTo>
                        <a:pt x="91" y="284"/>
                        <a:pt x="83" y="297"/>
                        <a:pt x="80" y="314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7" name="Freeform 163">
                  <a:extLst>
                    <a:ext uri="{FF2B5EF4-FFF2-40B4-BE49-F238E27FC236}">
                      <a16:creationId xmlns:a16="http://schemas.microsoft.com/office/drawing/2014/main" id="{DB3934AE-A414-4DF3-9A17-8035BC8D42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0225" y="1665292"/>
                  <a:ext cx="839790" cy="1258889"/>
                </a:xfrm>
                <a:custGeom>
                  <a:avLst/>
                  <a:gdLst>
                    <a:gd name="T0" fmla="*/ 160 w 224"/>
                    <a:gd name="T1" fmla="*/ 0 h 336"/>
                    <a:gd name="T2" fmla="*/ 161 w 224"/>
                    <a:gd name="T3" fmla="*/ 0 h 336"/>
                    <a:gd name="T4" fmla="*/ 192 w 224"/>
                    <a:gd name="T5" fmla="*/ 20 h 336"/>
                    <a:gd name="T6" fmla="*/ 219 w 224"/>
                    <a:gd name="T7" fmla="*/ 62 h 336"/>
                    <a:gd name="T8" fmla="*/ 202 w 224"/>
                    <a:gd name="T9" fmla="*/ 79 h 336"/>
                    <a:gd name="T10" fmla="*/ 224 w 224"/>
                    <a:gd name="T11" fmla="*/ 101 h 336"/>
                    <a:gd name="T12" fmla="*/ 224 w 224"/>
                    <a:gd name="T13" fmla="*/ 104 h 336"/>
                    <a:gd name="T14" fmla="*/ 122 w 224"/>
                    <a:gd name="T15" fmla="*/ 336 h 336"/>
                    <a:gd name="T16" fmla="*/ 121 w 224"/>
                    <a:gd name="T17" fmla="*/ 308 h 336"/>
                    <a:gd name="T18" fmla="*/ 2 w 224"/>
                    <a:gd name="T19" fmla="*/ 111 h 336"/>
                    <a:gd name="T20" fmla="*/ 17 w 224"/>
                    <a:gd name="T21" fmla="*/ 84 h 336"/>
                    <a:gd name="T22" fmla="*/ 0 w 224"/>
                    <a:gd name="T23" fmla="*/ 65 h 336"/>
                    <a:gd name="T24" fmla="*/ 0 w 224"/>
                    <a:gd name="T25" fmla="*/ 63 h 336"/>
                    <a:gd name="T26" fmla="*/ 48 w 224"/>
                    <a:gd name="T27" fmla="*/ 8 h 336"/>
                    <a:gd name="T28" fmla="*/ 122 w 224"/>
                    <a:gd name="T29" fmla="*/ 293 h 336"/>
                    <a:gd name="T30" fmla="*/ 160 w 224"/>
                    <a:gd name="T31" fmla="*/ 0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24" h="336">
                      <a:moveTo>
                        <a:pt x="160" y="0"/>
                      </a:moveTo>
                      <a:cubicBezTo>
                        <a:pt x="160" y="0"/>
                        <a:pt x="160" y="0"/>
                        <a:pt x="161" y="0"/>
                      </a:cubicBezTo>
                      <a:cubicBezTo>
                        <a:pt x="169" y="9"/>
                        <a:pt x="177" y="18"/>
                        <a:pt x="192" y="20"/>
                      </a:cubicBezTo>
                      <a:cubicBezTo>
                        <a:pt x="200" y="35"/>
                        <a:pt x="210" y="48"/>
                        <a:pt x="219" y="62"/>
                      </a:cubicBezTo>
                      <a:cubicBezTo>
                        <a:pt x="217" y="69"/>
                        <a:pt x="206" y="72"/>
                        <a:pt x="202" y="79"/>
                      </a:cubicBezTo>
                      <a:cubicBezTo>
                        <a:pt x="209" y="87"/>
                        <a:pt x="217" y="95"/>
                        <a:pt x="224" y="101"/>
                      </a:cubicBezTo>
                      <a:cubicBezTo>
                        <a:pt x="224" y="102"/>
                        <a:pt x="224" y="104"/>
                        <a:pt x="224" y="104"/>
                      </a:cubicBezTo>
                      <a:cubicBezTo>
                        <a:pt x="197" y="189"/>
                        <a:pt x="160" y="263"/>
                        <a:pt x="122" y="336"/>
                      </a:cubicBezTo>
                      <a:cubicBezTo>
                        <a:pt x="117" y="333"/>
                        <a:pt x="118" y="315"/>
                        <a:pt x="121" y="308"/>
                      </a:cubicBezTo>
                      <a:cubicBezTo>
                        <a:pt x="77" y="247"/>
                        <a:pt x="35" y="184"/>
                        <a:pt x="2" y="111"/>
                      </a:cubicBezTo>
                      <a:cubicBezTo>
                        <a:pt x="6" y="101"/>
                        <a:pt x="12" y="93"/>
                        <a:pt x="17" y="84"/>
                      </a:cubicBezTo>
                      <a:cubicBezTo>
                        <a:pt x="15" y="76"/>
                        <a:pt x="7" y="72"/>
                        <a:pt x="0" y="65"/>
                      </a:cubicBezTo>
                      <a:cubicBezTo>
                        <a:pt x="0" y="65"/>
                        <a:pt x="0" y="64"/>
                        <a:pt x="0" y="63"/>
                      </a:cubicBezTo>
                      <a:cubicBezTo>
                        <a:pt x="16" y="44"/>
                        <a:pt x="25" y="18"/>
                        <a:pt x="48" y="8"/>
                      </a:cubicBezTo>
                      <a:cubicBezTo>
                        <a:pt x="73" y="104"/>
                        <a:pt x="95" y="200"/>
                        <a:pt x="122" y="293"/>
                      </a:cubicBezTo>
                      <a:cubicBezTo>
                        <a:pt x="136" y="198"/>
                        <a:pt x="164" y="114"/>
                        <a:pt x="160" y="0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8" name="Freeform 164">
                  <a:extLst>
                    <a:ext uri="{FF2B5EF4-FFF2-40B4-BE49-F238E27FC236}">
                      <a16:creationId xmlns:a16="http://schemas.microsoft.com/office/drawing/2014/main" id="{354F3113-4BA3-4D1B-886E-4C418296ED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9611" y="1619255"/>
                  <a:ext cx="165099" cy="330202"/>
                </a:xfrm>
                <a:custGeom>
                  <a:avLst/>
                  <a:gdLst>
                    <a:gd name="T0" fmla="*/ 0 w 44"/>
                    <a:gd name="T1" fmla="*/ 21 h 88"/>
                    <a:gd name="T2" fmla="*/ 0 w 44"/>
                    <a:gd name="T3" fmla="*/ 21 h 88"/>
                    <a:gd name="T4" fmla="*/ 12 w 44"/>
                    <a:gd name="T5" fmla="*/ 0 h 88"/>
                    <a:gd name="T6" fmla="*/ 44 w 44"/>
                    <a:gd name="T7" fmla="*/ 46 h 88"/>
                    <a:gd name="T8" fmla="*/ 19 w 44"/>
                    <a:gd name="T9" fmla="*/ 88 h 88"/>
                    <a:gd name="T10" fmla="*/ 0 w 44"/>
                    <a:gd name="T11" fmla="*/ 21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4" h="88">
                      <a:moveTo>
                        <a:pt x="0" y="21"/>
                      </a:move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8" y="17"/>
                        <a:pt x="6" y="4"/>
                        <a:pt x="12" y="0"/>
                      </a:cubicBezTo>
                      <a:cubicBezTo>
                        <a:pt x="17" y="21"/>
                        <a:pt x="35" y="28"/>
                        <a:pt x="44" y="46"/>
                      </a:cubicBezTo>
                      <a:cubicBezTo>
                        <a:pt x="32" y="56"/>
                        <a:pt x="35" y="82"/>
                        <a:pt x="19" y="88"/>
                      </a:cubicBezTo>
                      <a:cubicBezTo>
                        <a:pt x="11" y="63"/>
                        <a:pt x="8" y="50"/>
                        <a:pt x="0" y="21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9" name="Freeform 165">
                  <a:extLst>
                    <a:ext uri="{FF2B5EF4-FFF2-40B4-BE49-F238E27FC236}">
                      <a16:creationId xmlns:a16="http://schemas.microsoft.com/office/drawing/2014/main" id="{AC7C4B56-23B6-4EE7-A615-43F6DAE1D5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65526" y="1619255"/>
                  <a:ext cx="134939" cy="346075"/>
                </a:xfrm>
                <a:custGeom>
                  <a:avLst/>
                  <a:gdLst>
                    <a:gd name="T0" fmla="*/ 22 w 36"/>
                    <a:gd name="T1" fmla="*/ 0 h 92"/>
                    <a:gd name="T2" fmla="*/ 22 w 36"/>
                    <a:gd name="T3" fmla="*/ 92 h 92"/>
                    <a:gd name="T4" fmla="*/ 0 w 36"/>
                    <a:gd name="T5" fmla="*/ 46 h 92"/>
                    <a:gd name="T6" fmla="*/ 22 w 36"/>
                    <a:gd name="T7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92">
                      <a:moveTo>
                        <a:pt x="22" y="0"/>
                      </a:moveTo>
                      <a:cubicBezTo>
                        <a:pt x="36" y="13"/>
                        <a:pt x="29" y="69"/>
                        <a:pt x="22" y="92"/>
                      </a:cubicBezTo>
                      <a:cubicBezTo>
                        <a:pt x="3" y="91"/>
                        <a:pt x="8" y="55"/>
                        <a:pt x="0" y="46"/>
                      </a:cubicBezTo>
                      <a:cubicBezTo>
                        <a:pt x="4" y="29"/>
                        <a:pt x="22" y="26"/>
                        <a:pt x="22" y="0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0" name="Freeform 166">
                  <a:extLst>
                    <a:ext uri="{FF2B5EF4-FFF2-40B4-BE49-F238E27FC236}">
                      <a16:creationId xmlns:a16="http://schemas.microsoft.com/office/drawing/2014/main" id="{33878310-6584-4B26-98E9-937D47A85F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6274" y="955678"/>
                  <a:ext cx="581026" cy="346075"/>
                </a:xfrm>
                <a:custGeom>
                  <a:avLst/>
                  <a:gdLst>
                    <a:gd name="T0" fmla="*/ 20 w 155"/>
                    <a:gd name="T1" fmla="*/ 49 h 92"/>
                    <a:gd name="T2" fmla="*/ 54 w 155"/>
                    <a:gd name="T3" fmla="*/ 54 h 92"/>
                    <a:gd name="T4" fmla="*/ 98 w 155"/>
                    <a:gd name="T5" fmla="*/ 59 h 92"/>
                    <a:gd name="T6" fmla="*/ 128 w 155"/>
                    <a:gd name="T7" fmla="*/ 67 h 92"/>
                    <a:gd name="T8" fmla="*/ 136 w 155"/>
                    <a:gd name="T9" fmla="*/ 92 h 92"/>
                    <a:gd name="T10" fmla="*/ 105 w 155"/>
                    <a:gd name="T11" fmla="*/ 5 h 92"/>
                    <a:gd name="T12" fmla="*/ 55 w 155"/>
                    <a:gd name="T13" fmla="*/ 4 h 92"/>
                    <a:gd name="T14" fmla="*/ 24 w 155"/>
                    <a:gd name="T15" fmla="*/ 21 h 92"/>
                    <a:gd name="T16" fmla="*/ 0 w 155"/>
                    <a:gd name="T17" fmla="*/ 45 h 92"/>
                    <a:gd name="T18" fmla="*/ 6 w 155"/>
                    <a:gd name="T19" fmla="*/ 91 h 92"/>
                    <a:gd name="T20" fmla="*/ 7 w 155"/>
                    <a:gd name="T21" fmla="*/ 91 h 92"/>
                    <a:gd name="T22" fmla="*/ 20 w 155"/>
                    <a:gd name="T23" fmla="*/ 49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5" h="92">
                      <a:moveTo>
                        <a:pt x="20" y="49"/>
                      </a:moveTo>
                      <a:cubicBezTo>
                        <a:pt x="28" y="48"/>
                        <a:pt x="33" y="47"/>
                        <a:pt x="54" y="54"/>
                      </a:cubicBezTo>
                      <a:cubicBezTo>
                        <a:pt x="75" y="60"/>
                        <a:pt x="90" y="69"/>
                        <a:pt x="98" y="59"/>
                      </a:cubicBezTo>
                      <a:cubicBezTo>
                        <a:pt x="107" y="49"/>
                        <a:pt x="127" y="62"/>
                        <a:pt x="128" y="67"/>
                      </a:cubicBezTo>
                      <a:cubicBezTo>
                        <a:pt x="130" y="73"/>
                        <a:pt x="136" y="92"/>
                        <a:pt x="136" y="92"/>
                      </a:cubicBezTo>
                      <a:cubicBezTo>
                        <a:pt x="155" y="54"/>
                        <a:pt x="132" y="19"/>
                        <a:pt x="105" y="5"/>
                      </a:cubicBezTo>
                      <a:cubicBezTo>
                        <a:pt x="86" y="5"/>
                        <a:pt x="69" y="0"/>
                        <a:pt x="55" y="4"/>
                      </a:cubicBezTo>
                      <a:cubicBezTo>
                        <a:pt x="43" y="6"/>
                        <a:pt x="34" y="15"/>
                        <a:pt x="24" y="21"/>
                      </a:cubicBezTo>
                      <a:cubicBezTo>
                        <a:pt x="15" y="29"/>
                        <a:pt x="4" y="35"/>
                        <a:pt x="0" y="45"/>
                      </a:cubicBezTo>
                      <a:cubicBezTo>
                        <a:pt x="1" y="62"/>
                        <a:pt x="1" y="77"/>
                        <a:pt x="6" y="91"/>
                      </a:cubicBezTo>
                      <a:cubicBezTo>
                        <a:pt x="7" y="91"/>
                        <a:pt x="7" y="91"/>
                        <a:pt x="7" y="91"/>
                      </a:cubicBezTo>
                      <a:cubicBezTo>
                        <a:pt x="9" y="82"/>
                        <a:pt x="14" y="51"/>
                        <a:pt x="20" y="49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1" name="Freeform 167">
                  <a:extLst>
                    <a:ext uri="{FF2B5EF4-FFF2-40B4-BE49-F238E27FC236}">
                      <a16:creationId xmlns:a16="http://schemas.microsoft.com/office/drawing/2014/main" id="{404FAFE5-C6F1-4842-AA9E-E709D94C6D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6312" y="2133606"/>
                  <a:ext cx="71438" cy="96838"/>
                </a:xfrm>
                <a:custGeom>
                  <a:avLst/>
                  <a:gdLst>
                    <a:gd name="T0" fmla="*/ 5 w 19"/>
                    <a:gd name="T1" fmla="*/ 10 h 26"/>
                    <a:gd name="T2" fmla="*/ 11 w 19"/>
                    <a:gd name="T3" fmla="*/ 2 h 26"/>
                    <a:gd name="T4" fmla="*/ 15 w 19"/>
                    <a:gd name="T5" fmla="*/ 10 h 26"/>
                    <a:gd name="T6" fmla="*/ 0 w 19"/>
                    <a:gd name="T7" fmla="*/ 22 h 26"/>
                    <a:gd name="T8" fmla="*/ 5 w 19"/>
                    <a:gd name="T9" fmla="*/ 1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26">
                      <a:moveTo>
                        <a:pt x="5" y="10"/>
                      </a:moveTo>
                      <a:cubicBezTo>
                        <a:pt x="9" y="6"/>
                        <a:pt x="5" y="0"/>
                        <a:pt x="11" y="2"/>
                      </a:cubicBezTo>
                      <a:cubicBezTo>
                        <a:pt x="16" y="4"/>
                        <a:pt x="19" y="5"/>
                        <a:pt x="15" y="10"/>
                      </a:cubicBezTo>
                      <a:cubicBezTo>
                        <a:pt x="11" y="16"/>
                        <a:pt x="0" y="26"/>
                        <a:pt x="0" y="22"/>
                      </a:cubicBezTo>
                      <a:cubicBezTo>
                        <a:pt x="0" y="19"/>
                        <a:pt x="5" y="10"/>
                        <a:pt x="5" y="1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2" name="Freeform 168">
                  <a:extLst>
                    <a:ext uri="{FF2B5EF4-FFF2-40B4-BE49-F238E27FC236}">
                      <a16:creationId xmlns:a16="http://schemas.microsoft.com/office/drawing/2014/main" id="{0AFA611A-7411-4BB1-923A-028846DB26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7261" y="2354269"/>
                  <a:ext cx="71438" cy="93661"/>
                </a:xfrm>
                <a:custGeom>
                  <a:avLst/>
                  <a:gdLst>
                    <a:gd name="T0" fmla="*/ 6 w 19"/>
                    <a:gd name="T1" fmla="*/ 10 h 25"/>
                    <a:gd name="T2" fmla="*/ 11 w 19"/>
                    <a:gd name="T3" fmla="*/ 2 h 25"/>
                    <a:gd name="T4" fmla="*/ 15 w 19"/>
                    <a:gd name="T5" fmla="*/ 10 h 25"/>
                    <a:gd name="T6" fmla="*/ 0 w 19"/>
                    <a:gd name="T7" fmla="*/ 22 h 25"/>
                    <a:gd name="T8" fmla="*/ 6 w 19"/>
                    <a:gd name="T9" fmla="*/ 1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25">
                      <a:moveTo>
                        <a:pt x="6" y="10"/>
                      </a:moveTo>
                      <a:cubicBezTo>
                        <a:pt x="9" y="5"/>
                        <a:pt x="6" y="0"/>
                        <a:pt x="11" y="2"/>
                      </a:cubicBezTo>
                      <a:cubicBezTo>
                        <a:pt x="16" y="4"/>
                        <a:pt x="19" y="4"/>
                        <a:pt x="15" y="10"/>
                      </a:cubicBezTo>
                      <a:cubicBezTo>
                        <a:pt x="11" y="15"/>
                        <a:pt x="0" y="25"/>
                        <a:pt x="0" y="22"/>
                      </a:cubicBezTo>
                      <a:cubicBezTo>
                        <a:pt x="0" y="19"/>
                        <a:pt x="6" y="10"/>
                        <a:pt x="6" y="1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3" name="Freeform 169">
                  <a:extLst>
                    <a:ext uri="{FF2B5EF4-FFF2-40B4-BE49-F238E27FC236}">
                      <a16:creationId xmlns:a16="http://schemas.microsoft.com/office/drawing/2014/main" id="{CFDC8AF7-595C-403B-9C16-9EE3F47C88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7349" y="2073282"/>
                  <a:ext cx="49214" cy="630240"/>
                </a:xfrm>
                <a:custGeom>
                  <a:avLst/>
                  <a:gdLst>
                    <a:gd name="T0" fmla="*/ 10 w 13"/>
                    <a:gd name="T1" fmla="*/ 168 h 168"/>
                    <a:gd name="T2" fmla="*/ 6 w 13"/>
                    <a:gd name="T3" fmla="*/ 39 h 168"/>
                    <a:gd name="T4" fmla="*/ 6 w 13"/>
                    <a:gd name="T5" fmla="*/ 10 h 168"/>
                    <a:gd name="T6" fmla="*/ 13 w 13"/>
                    <a:gd name="T7" fmla="*/ 10 h 168"/>
                    <a:gd name="T8" fmla="*/ 10 w 13"/>
                    <a:gd name="T9" fmla="*/ 168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68">
                      <a:moveTo>
                        <a:pt x="10" y="168"/>
                      </a:moveTo>
                      <a:cubicBezTo>
                        <a:pt x="10" y="168"/>
                        <a:pt x="11" y="61"/>
                        <a:pt x="6" y="39"/>
                      </a:cubicBezTo>
                      <a:cubicBezTo>
                        <a:pt x="0" y="17"/>
                        <a:pt x="2" y="10"/>
                        <a:pt x="6" y="10"/>
                      </a:cubicBezTo>
                      <a:cubicBezTo>
                        <a:pt x="10" y="10"/>
                        <a:pt x="13" y="0"/>
                        <a:pt x="13" y="10"/>
                      </a:cubicBezTo>
                      <a:cubicBezTo>
                        <a:pt x="13" y="20"/>
                        <a:pt x="10" y="168"/>
                        <a:pt x="10" y="168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4" name="Freeform 170">
                  <a:extLst>
                    <a:ext uri="{FF2B5EF4-FFF2-40B4-BE49-F238E27FC236}">
                      <a16:creationId xmlns:a16="http://schemas.microsoft.com/office/drawing/2014/main" id="{1E49DEC6-14F4-4AFE-846D-320F79A61E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6853" y="2106619"/>
                  <a:ext cx="98425" cy="1320804"/>
                </a:xfrm>
                <a:custGeom>
                  <a:avLst/>
                  <a:gdLst>
                    <a:gd name="T0" fmla="*/ 26 w 26"/>
                    <a:gd name="T1" fmla="*/ 352 h 352"/>
                    <a:gd name="T2" fmla="*/ 7 w 26"/>
                    <a:gd name="T3" fmla="*/ 213 h 352"/>
                    <a:gd name="T4" fmla="*/ 7 w 26"/>
                    <a:gd name="T5" fmla="*/ 145 h 352"/>
                    <a:gd name="T6" fmla="*/ 0 w 26"/>
                    <a:gd name="T7" fmla="*/ 30 h 352"/>
                    <a:gd name="T8" fmla="*/ 10 w 26"/>
                    <a:gd name="T9" fmla="*/ 0 h 352"/>
                    <a:gd name="T10" fmla="*/ 10 w 26"/>
                    <a:gd name="T11" fmla="*/ 6 h 352"/>
                    <a:gd name="T12" fmla="*/ 26 w 26"/>
                    <a:gd name="T13" fmla="*/ 352 h 3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352">
                      <a:moveTo>
                        <a:pt x="26" y="352"/>
                      </a:moveTo>
                      <a:cubicBezTo>
                        <a:pt x="26" y="347"/>
                        <a:pt x="8" y="236"/>
                        <a:pt x="7" y="213"/>
                      </a:cubicBezTo>
                      <a:cubicBezTo>
                        <a:pt x="6" y="189"/>
                        <a:pt x="9" y="165"/>
                        <a:pt x="7" y="145"/>
                      </a:cubicBezTo>
                      <a:cubicBezTo>
                        <a:pt x="5" y="126"/>
                        <a:pt x="0" y="48"/>
                        <a:pt x="0" y="30"/>
                      </a:cubicBezTo>
                      <a:cubicBezTo>
                        <a:pt x="1" y="12"/>
                        <a:pt x="10" y="0"/>
                        <a:pt x="10" y="0"/>
                      </a:cubicBezTo>
                      <a:cubicBezTo>
                        <a:pt x="10" y="6"/>
                        <a:pt x="10" y="6"/>
                        <a:pt x="10" y="6"/>
                      </a:cubicBezTo>
                      <a:lnTo>
                        <a:pt x="26" y="352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5" name="Freeform 171">
                  <a:extLst>
                    <a:ext uri="{FF2B5EF4-FFF2-40B4-BE49-F238E27FC236}">
                      <a16:creationId xmlns:a16="http://schemas.microsoft.com/office/drawing/2014/main" id="{F5A43274-2679-4ABC-A05F-90A666B3C7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0476" y="3135321"/>
                  <a:ext cx="222250" cy="58738"/>
                </a:xfrm>
                <a:custGeom>
                  <a:avLst/>
                  <a:gdLst>
                    <a:gd name="T0" fmla="*/ 0 w 59"/>
                    <a:gd name="T1" fmla="*/ 16 h 16"/>
                    <a:gd name="T2" fmla="*/ 52 w 59"/>
                    <a:gd name="T3" fmla="*/ 7 h 16"/>
                    <a:gd name="T4" fmla="*/ 59 w 59"/>
                    <a:gd name="T5" fmla="*/ 7 h 16"/>
                    <a:gd name="T6" fmla="*/ 0 w 59"/>
                    <a:gd name="T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9" h="16">
                      <a:moveTo>
                        <a:pt x="0" y="16"/>
                      </a:moveTo>
                      <a:cubicBezTo>
                        <a:pt x="0" y="16"/>
                        <a:pt x="49" y="13"/>
                        <a:pt x="52" y="7"/>
                      </a:cubicBezTo>
                      <a:cubicBezTo>
                        <a:pt x="55" y="0"/>
                        <a:pt x="59" y="3"/>
                        <a:pt x="59" y="7"/>
                      </a:cubicBezTo>
                      <a:cubicBezTo>
                        <a:pt x="58" y="11"/>
                        <a:pt x="0" y="16"/>
                        <a:pt x="0" y="16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6" name="Freeform 172">
                  <a:extLst>
                    <a:ext uri="{FF2B5EF4-FFF2-40B4-BE49-F238E27FC236}">
                      <a16:creationId xmlns:a16="http://schemas.microsoft.com/office/drawing/2014/main" id="{CF4531AC-50EF-4D68-B370-F615B4541C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57627" y="3224223"/>
                  <a:ext cx="198440" cy="282574"/>
                </a:xfrm>
                <a:custGeom>
                  <a:avLst/>
                  <a:gdLst>
                    <a:gd name="T0" fmla="*/ 44 w 53"/>
                    <a:gd name="T1" fmla="*/ 0 h 75"/>
                    <a:gd name="T2" fmla="*/ 53 w 53"/>
                    <a:gd name="T3" fmla="*/ 75 h 75"/>
                    <a:gd name="T4" fmla="*/ 24 w 53"/>
                    <a:gd name="T5" fmla="*/ 75 h 75"/>
                    <a:gd name="T6" fmla="*/ 14 w 53"/>
                    <a:gd name="T7" fmla="*/ 69 h 75"/>
                    <a:gd name="T8" fmla="*/ 34 w 53"/>
                    <a:gd name="T9" fmla="*/ 61 h 75"/>
                    <a:gd name="T10" fmla="*/ 22 w 53"/>
                    <a:gd name="T11" fmla="*/ 38 h 75"/>
                    <a:gd name="T12" fmla="*/ 44 w 53"/>
                    <a:gd name="T13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3" h="75">
                      <a:moveTo>
                        <a:pt x="44" y="0"/>
                      </a:moveTo>
                      <a:cubicBezTo>
                        <a:pt x="53" y="75"/>
                        <a:pt x="53" y="75"/>
                        <a:pt x="53" y="75"/>
                      </a:cubicBezTo>
                      <a:cubicBezTo>
                        <a:pt x="24" y="75"/>
                        <a:pt x="24" y="75"/>
                        <a:pt x="24" y="75"/>
                      </a:cubicBezTo>
                      <a:cubicBezTo>
                        <a:pt x="24" y="75"/>
                        <a:pt x="0" y="69"/>
                        <a:pt x="14" y="69"/>
                      </a:cubicBezTo>
                      <a:cubicBezTo>
                        <a:pt x="29" y="68"/>
                        <a:pt x="42" y="73"/>
                        <a:pt x="34" y="61"/>
                      </a:cubicBezTo>
                      <a:cubicBezTo>
                        <a:pt x="27" y="48"/>
                        <a:pt x="6" y="41"/>
                        <a:pt x="22" y="38"/>
                      </a:cubicBezTo>
                      <a:cubicBezTo>
                        <a:pt x="38" y="34"/>
                        <a:pt x="44" y="0"/>
                        <a:pt x="44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7" name="Freeform 173">
                  <a:extLst>
                    <a:ext uri="{FF2B5EF4-FFF2-40B4-BE49-F238E27FC236}">
                      <a16:creationId xmlns:a16="http://schemas.microsoft.com/office/drawing/2014/main" id="{9EED4CF1-2123-4F16-8F09-F55E9D4F66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9122" y="2576519"/>
                  <a:ext cx="60324" cy="490537"/>
                </a:xfrm>
                <a:custGeom>
                  <a:avLst/>
                  <a:gdLst>
                    <a:gd name="T0" fmla="*/ 0 w 38"/>
                    <a:gd name="T1" fmla="*/ 0 h 309"/>
                    <a:gd name="T2" fmla="*/ 29 w 38"/>
                    <a:gd name="T3" fmla="*/ 309 h 309"/>
                    <a:gd name="T4" fmla="*/ 38 w 38"/>
                    <a:gd name="T5" fmla="*/ 293 h 309"/>
                    <a:gd name="T6" fmla="*/ 0 w 38"/>
                    <a:gd name="T7" fmla="*/ 0 h 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8" h="309">
                      <a:moveTo>
                        <a:pt x="0" y="0"/>
                      </a:moveTo>
                      <a:lnTo>
                        <a:pt x="29" y="309"/>
                      </a:lnTo>
                      <a:lnTo>
                        <a:pt x="38" y="29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8" name="Freeform 174">
                  <a:extLst>
                    <a:ext uri="{FF2B5EF4-FFF2-40B4-BE49-F238E27FC236}">
                      <a16:creationId xmlns:a16="http://schemas.microsoft.com/office/drawing/2014/main" id="{6E611B88-DCD1-4DDD-B5F9-16EC47EE38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7833" y="3157549"/>
                  <a:ext cx="288924" cy="93661"/>
                </a:xfrm>
                <a:custGeom>
                  <a:avLst/>
                  <a:gdLst>
                    <a:gd name="T0" fmla="*/ 0 w 77"/>
                    <a:gd name="T1" fmla="*/ 0 h 25"/>
                    <a:gd name="T2" fmla="*/ 75 w 77"/>
                    <a:gd name="T3" fmla="*/ 10 h 25"/>
                    <a:gd name="T4" fmla="*/ 68 w 77"/>
                    <a:gd name="T5" fmla="*/ 25 h 25"/>
                    <a:gd name="T6" fmla="*/ 0 w 77"/>
                    <a:gd name="T7" fmla="*/ 12 h 25"/>
                    <a:gd name="T8" fmla="*/ 0 w 77"/>
                    <a:gd name="T9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7" h="25">
                      <a:moveTo>
                        <a:pt x="0" y="0"/>
                      </a:moveTo>
                      <a:cubicBezTo>
                        <a:pt x="0" y="0"/>
                        <a:pt x="73" y="9"/>
                        <a:pt x="75" y="10"/>
                      </a:cubicBezTo>
                      <a:cubicBezTo>
                        <a:pt x="77" y="11"/>
                        <a:pt x="68" y="25"/>
                        <a:pt x="68" y="25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9" name="Freeform 175">
                  <a:extLst>
                    <a:ext uri="{FF2B5EF4-FFF2-40B4-BE49-F238E27FC236}">
                      <a16:creationId xmlns:a16="http://schemas.microsoft.com/office/drawing/2014/main" id="{F74683FB-E661-4787-A295-A27F9DD1A6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7833" y="3333761"/>
                  <a:ext cx="242887" cy="236537"/>
                </a:xfrm>
                <a:custGeom>
                  <a:avLst/>
                  <a:gdLst>
                    <a:gd name="T0" fmla="*/ 65 w 65"/>
                    <a:gd name="T1" fmla="*/ 0 h 63"/>
                    <a:gd name="T2" fmla="*/ 50 w 65"/>
                    <a:gd name="T3" fmla="*/ 60 h 63"/>
                    <a:gd name="T4" fmla="*/ 9 w 65"/>
                    <a:gd name="T5" fmla="*/ 52 h 63"/>
                    <a:gd name="T6" fmla="*/ 18 w 65"/>
                    <a:gd name="T7" fmla="*/ 46 h 63"/>
                    <a:gd name="T8" fmla="*/ 49 w 65"/>
                    <a:gd name="T9" fmla="*/ 46 h 63"/>
                    <a:gd name="T10" fmla="*/ 65 w 65"/>
                    <a:gd name="T11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5" h="63">
                      <a:moveTo>
                        <a:pt x="65" y="0"/>
                      </a:moveTo>
                      <a:cubicBezTo>
                        <a:pt x="50" y="60"/>
                        <a:pt x="50" y="60"/>
                        <a:pt x="50" y="60"/>
                      </a:cubicBezTo>
                      <a:cubicBezTo>
                        <a:pt x="9" y="52"/>
                        <a:pt x="9" y="52"/>
                        <a:pt x="9" y="52"/>
                      </a:cubicBezTo>
                      <a:cubicBezTo>
                        <a:pt x="9" y="52"/>
                        <a:pt x="0" y="47"/>
                        <a:pt x="18" y="46"/>
                      </a:cubicBezTo>
                      <a:cubicBezTo>
                        <a:pt x="36" y="46"/>
                        <a:pt x="48" y="63"/>
                        <a:pt x="49" y="46"/>
                      </a:cubicBezTo>
                      <a:cubicBezTo>
                        <a:pt x="50" y="30"/>
                        <a:pt x="65" y="0"/>
                        <a:pt x="65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0" name="Freeform 176">
                  <a:extLst>
                    <a:ext uri="{FF2B5EF4-FFF2-40B4-BE49-F238E27FC236}">
                      <a16:creationId xmlns:a16="http://schemas.microsoft.com/office/drawing/2014/main" id="{FD3D3FDC-6776-4BC2-BC44-BF8298802E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70183" y="2201870"/>
                  <a:ext cx="41274" cy="168276"/>
                </a:xfrm>
                <a:custGeom>
                  <a:avLst/>
                  <a:gdLst>
                    <a:gd name="T0" fmla="*/ 0 w 11"/>
                    <a:gd name="T1" fmla="*/ 0 h 45"/>
                    <a:gd name="T2" fmla="*/ 0 w 11"/>
                    <a:gd name="T3" fmla="*/ 21 h 45"/>
                    <a:gd name="T4" fmla="*/ 2 w 11"/>
                    <a:gd name="T5" fmla="*/ 42 h 45"/>
                    <a:gd name="T6" fmla="*/ 10 w 11"/>
                    <a:gd name="T7" fmla="*/ 5 h 45"/>
                    <a:gd name="T8" fmla="*/ 0 w 11"/>
                    <a:gd name="T9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45">
                      <a:moveTo>
                        <a:pt x="0" y="0"/>
                      </a:moveTo>
                      <a:cubicBezTo>
                        <a:pt x="0" y="5"/>
                        <a:pt x="0" y="13"/>
                        <a:pt x="0" y="21"/>
                      </a:cubicBezTo>
                      <a:cubicBezTo>
                        <a:pt x="1" y="31"/>
                        <a:pt x="2" y="41"/>
                        <a:pt x="2" y="42"/>
                      </a:cubicBezTo>
                      <a:cubicBezTo>
                        <a:pt x="4" y="45"/>
                        <a:pt x="11" y="8"/>
                        <a:pt x="10" y="5"/>
                      </a:cubicBezTo>
                      <a:cubicBezTo>
                        <a:pt x="8" y="2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1" name="Freeform 177">
                  <a:extLst>
                    <a:ext uri="{FF2B5EF4-FFF2-40B4-BE49-F238E27FC236}">
                      <a16:creationId xmlns:a16="http://schemas.microsoft.com/office/drawing/2014/main" id="{B9812C88-79DE-40A6-9A06-CEDF9DB01B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71758" y="2786069"/>
                  <a:ext cx="150812" cy="352425"/>
                </a:xfrm>
                <a:custGeom>
                  <a:avLst/>
                  <a:gdLst>
                    <a:gd name="T0" fmla="*/ 0 w 40"/>
                    <a:gd name="T1" fmla="*/ 0 h 94"/>
                    <a:gd name="T2" fmla="*/ 20 w 40"/>
                    <a:gd name="T3" fmla="*/ 64 h 94"/>
                    <a:gd name="T4" fmla="*/ 36 w 40"/>
                    <a:gd name="T5" fmla="*/ 82 h 94"/>
                    <a:gd name="T6" fmla="*/ 14 w 40"/>
                    <a:gd name="T7" fmla="*/ 26 h 94"/>
                    <a:gd name="T8" fmla="*/ 0 w 40"/>
                    <a:gd name="T9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94">
                      <a:moveTo>
                        <a:pt x="0" y="0"/>
                      </a:moveTo>
                      <a:cubicBezTo>
                        <a:pt x="0" y="0"/>
                        <a:pt x="12" y="47"/>
                        <a:pt x="20" y="64"/>
                      </a:cubicBezTo>
                      <a:cubicBezTo>
                        <a:pt x="28" y="82"/>
                        <a:pt x="40" y="94"/>
                        <a:pt x="36" y="82"/>
                      </a:cubicBezTo>
                      <a:cubicBezTo>
                        <a:pt x="32" y="69"/>
                        <a:pt x="20" y="36"/>
                        <a:pt x="14" y="26"/>
                      </a:cubicBezTo>
                      <a:cubicBezTo>
                        <a:pt x="9" y="15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2" name="Freeform 178">
                  <a:extLst>
                    <a:ext uri="{FF2B5EF4-FFF2-40B4-BE49-F238E27FC236}">
                      <a16:creationId xmlns:a16="http://schemas.microsoft.com/office/drawing/2014/main" id="{DC15CB65-DAFD-47DE-BD65-64737CBF54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9736" y="2860684"/>
                  <a:ext cx="49214" cy="247650"/>
                </a:xfrm>
                <a:custGeom>
                  <a:avLst/>
                  <a:gdLst>
                    <a:gd name="T0" fmla="*/ 0 w 13"/>
                    <a:gd name="T1" fmla="*/ 0 h 66"/>
                    <a:gd name="T2" fmla="*/ 10 w 13"/>
                    <a:gd name="T3" fmla="*/ 31 h 66"/>
                    <a:gd name="T4" fmla="*/ 6 w 13"/>
                    <a:gd name="T5" fmla="*/ 50 h 66"/>
                    <a:gd name="T6" fmla="*/ 0 w 13"/>
                    <a:gd name="T7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66">
                      <a:moveTo>
                        <a:pt x="0" y="0"/>
                      </a:moveTo>
                      <a:cubicBezTo>
                        <a:pt x="0" y="0"/>
                        <a:pt x="13" y="15"/>
                        <a:pt x="10" y="31"/>
                      </a:cubicBezTo>
                      <a:cubicBezTo>
                        <a:pt x="8" y="47"/>
                        <a:pt x="5" y="66"/>
                        <a:pt x="6" y="50"/>
                      </a:cubicBezTo>
                      <a:cubicBezTo>
                        <a:pt x="6" y="35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3" name="Freeform 188">
                  <a:extLst>
                    <a:ext uri="{FF2B5EF4-FFF2-40B4-BE49-F238E27FC236}">
                      <a16:creationId xmlns:a16="http://schemas.microsoft.com/office/drawing/2014/main" id="{C8FE8E02-C936-46FC-9ACA-0B9F6E802C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01994" y="1544640"/>
                  <a:ext cx="349252" cy="131762"/>
                </a:xfrm>
                <a:custGeom>
                  <a:avLst/>
                  <a:gdLst>
                    <a:gd name="T0" fmla="*/ 0 w 93"/>
                    <a:gd name="T1" fmla="*/ 0 h 35"/>
                    <a:gd name="T2" fmla="*/ 33 w 93"/>
                    <a:gd name="T3" fmla="*/ 29 h 35"/>
                    <a:gd name="T4" fmla="*/ 68 w 93"/>
                    <a:gd name="T5" fmla="*/ 24 h 35"/>
                    <a:gd name="T6" fmla="*/ 85 w 93"/>
                    <a:gd name="T7" fmla="*/ 7 h 35"/>
                    <a:gd name="T8" fmla="*/ 92 w 93"/>
                    <a:gd name="T9" fmla="*/ 6 h 35"/>
                    <a:gd name="T10" fmla="*/ 85 w 93"/>
                    <a:gd name="T11" fmla="*/ 19 h 35"/>
                    <a:gd name="T12" fmla="*/ 67 w 93"/>
                    <a:gd name="T13" fmla="*/ 32 h 35"/>
                    <a:gd name="T14" fmla="*/ 28 w 93"/>
                    <a:gd name="T15" fmla="*/ 32 h 35"/>
                    <a:gd name="T16" fmla="*/ 0 w 93"/>
                    <a:gd name="T17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3" h="35">
                      <a:moveTo>
                        <a:pt x="0" y="0"/>
                      </a:moveTo>
                      <a:cubicBezTo>
                        <a:pt x="2" y="4"/>
                        <a:pt x="21" y="25"/>
                        <a:pt x="33" y="29"/>
                      </a:cubicBezTo>
                      <a:cubicBezTo>
                        <a:pt x="45" y="32"/>
                        <a:pt x="63" y="29"/>
                        <a:pt x="68" y="24"/>
                      </a:cubicBezTo>
                      <a:cubicBezTo>
                        <a:pt x="73" y="19"/>
                        <a:pt x="84" y="9"/>
                        <a:pt x="85" y="7"/>
                      </a:cubicBezTo>
                      <a:cubicBezTo>
                        <a:pt x="86" y="5"/>
                        <a:pt x="93" y="1"/>
                        <a:pt x="92" y="6"/>
                      </a:cubicBezTo>
                      <a:cubicBezTo>
                        <a:pt x="91" y="10"/>
                        <a:pt x="89" y="14"/>
                        <a:pt x="85" y="19"/>
                      </a:cubicBezTo>
                      <a:cubicBezTo>
                        <a:pt x="82" y="24"/>
                        <a:pt x="75" y="33"/>
                        <a:pt x="67" y="32"/>
                      </a:cubicBezTo>
                      <a:cubicBezTo>
                        <a:pt x="58" y="32"/>
                        <a:pt x="36" y="35"/>
                        <a:pt x="28" y="32"/>
                      </a:cubicBezTo>
                      <a:cubicBezTo>
                        <a:pt x="19" y="3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4" name="Freeform 103">
                  <a:extLst>
                    <a:ext uri="{FF2B5EF4-FFF2-40B4-BE49-F238E27FC236}">
                      <a16:creationId xmlns:a16="http://schemas.microsoft.com/office/drawing/2014/main" id="{FCCB30EF-A996-491D-A95C-5F758616E1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53697" y="1061826"/>
                  <a:ext cx="226796" cy="66888"/>
                </a:xfrm>
                <a:custGeom>
                  <a:avLst/>
                  <a:gdLst>
                    <a:gd name="T0" fmla="*/ 9 w 49"/>
                    <a:gd name="T1" fmla="*/ 1 h 23"/>
                    <a:gd name="T2" fmla="*/ 24 w 49"/>
                    <a:gd name="T3" fmla="*/ 8 h 23"/>
                    <a:gd name="T4" fmla="*/ 31 w 49"/>
                    <a:gd name="T5" fmla="*/ 7 h 23"/>
                    <a:gd name="T6" fmla="*/ 44 w 49"/>
                    <a:gd name="T7" fmla="*/ 17 h 23"/>
                    <a:gd name="T8" fmla="*/ 37 w 49"/>
                    <a:gd name="T9" fmla="*/ 17 h 23"/>
                    <a:gd name="T10" fmla="*/ 13 w 49"/>
                    <a:gd name="T11" fmla="*/ 10 h 23"/>
                    <a:gd name="T12" fmla="*/ 9 w 49"/>
                    <a:gd name="T13" fmla="*/ 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3">
                      <a:moveTo>
                        <a:pt x="9" y="1"/>
                      </a:moveTo>
                      <a:cubicBezTo>
                        <a:pt x="9" y="1"/>
                        <a:pt x="20" y="7"/>
                        <a:pt x="24" y="8"/>
                      </a:cubicBezTo>
                      <a:cubicBezTo>
                        <a:pt x="28" y="9"/>
                        <a:pt x="31" y="9"/>
                        <a:pt x="31" y="7"/>
                      </a:cubicBezTo>
                      <a:cubicBezTo>
                        <a:pt x="31" y="4"/>
                        <a:pt x="40" y="11"/>
                        <a:pt x="44" y="17"/>
                      </a:cubicBezTo>
                      <a:cubicBezTo>
                        <a:pt x="49" y="23"/>
                        <a:pt x="44" y="21"/>
                        <a:pt x="37" y="17"/>
                      </a:cubicBezTo>
                      <a:cubicBezTo>
                        <a:pt x="30" y="13"/>
                        <a:pt x="20" y="15"/>
                        <a:pt x="13" y="10"/>
                      </a:cubicBezTo>
                      <a:cubicBezTo>
                        <a:pt x="6" y="5"/>
                        <a:pt x="0" y="0"/>
                        <a:pt x="9" y="1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5" name="Freeform 104">
                  <a:extLst>
                    <a:ext uri="{FF2B5EF4-FFF2-40B4-BE49-F238E27FC236}">
                      <a16:creationId xmlns:a16="http://schemas.microsoft.com/office/drawing/2014/main" id="{729299C6-F8E5-4026-9D4D-1FB79BAD16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8643239">
                  <a:off x="3555600" y="1040771"/>
                  <a:ext cx="87944" cy="175885"/>
                </a:xfrm>
                <a:custGeom>
                  <a:avLst/>
                  <a:gdLst>
                    <a:gd name="T0" fmla="*/ 12 w 30"/>
                    <a:gd name="T1" fmla="*/ 25 h 60"/>
                    <a:gd name="T2" fmla="*/ 20 w 30"/>
                    <a:gd name="T3" fmla="*/ 19 h 60"/>
                    <a:gd name="T4" fmla="*/ 22 w 30"/>
                    <a:gd name="T5" fmla="*/ 4 h 60"/>
                    <a:gd name="T6" fmla="*/ 24 w 30"/>
                    <a:gd name="T7" fmla="*/ 26 h 60"/>
                    <a:gd name="T8" fmla="*/ 21 w 30"/>
                    <a:gd name="T9" fmla="*/ 37 h 60"/>
                    <a:gd name="T10" fmla="*/ 14 w 30"/>
                    <a:gd name="T11" fmla="*/ 48 h 60"/>
                    <a:gd name="T12" fmla="*/ 8 w 30"/>
                    <a:gd name="T13" fmla="*/ 35 h 60"/>
                    <a:gd name="T14" fmla="*/ 12 w 30"/>
                    <a:gd name="T15" fmla="*/ 25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0" h="60">
                      <a:moveTo>
                        <a:pt x="12" y="25"/>
                      </a:moveTo>
                      <a:cubicBezTo>
                        <a:pt x="12" y="25"/>
                        <a:pt x="17" y="24"/>
                        <a:pt x="20" y="19"/>
                      </a:cubicBezTo>
                      <a:cubicBezTo>
                        <a:pt x="24" y="14"/>
                        <a:pt x="22" y="8"/>
                        <a:pt x="22" y="4"/>
                      </a:cubicBezTo>
                      <a:cubicBezTo>
                        <a:pt x="21" y="0"/>
                        <a:pt x="30" y="16"/>
                        <a:pt x="24" y="26"/>
                      </a:cubicBezTo>
                      <a:cubicBezTo>
                        <a:pt x="24" y="26"/>
                        <a:pt x="21" y="34"/>
                        <a:pt x="21" y="37"/>
                      </a:cubicBezTo>
                      <a:cubicBezTo>
                        <a:pt x="21" y="40"/>
                        <a:pt x="20" y="46"/>
                        <a:pt x="14" y="48"/>
                      </a:cubicBezTo>
                      <a:cubicBezTo>
                        <a:pt x="8" y="50"/>
                        <a:pt x="0" y="60"/>
                        <a:pt x="8" y="35"/>
                      </a:cubicBezTo>
                      <a:lnTo>
                        <a:pt x="12" y="25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443" name="AutoShape 25">
                <a:extLst>
                  <a:ext uri="{FF2B5EF4-FFF2-40B4-BE49-F238E27FC236}">
                    <a16:creationId xmlns:a16="http://schemas.microsoft.com/office/drawing/2014/main" id="{1E65ED8D-E79D-41F5-9A9C-F5DB9E89F6C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186187" flipH="1">
                <a:off x="2537765" y="3836692"/>
                <a:ext cx="158509" cy="327676"/>
              </a:xfrm>
              <a:custGeom>
                <a:avLst/>
                <a:gdLst>
                  <a:gd name="T0" fmla="*/ 794460491 w 792"/>
                  <a:gd name="T1" fmla="*/ 729941208 h 2536"/>
                  <a:gd name="T2" fmla="*/ 794460491 w 792"/>
                  <a:gd name="T3" fmla="*/ 729941208 h 2536"/>
                  <a:gd name="T4" fmla="*/ 794460491 w 792"/>
                  <a:gd name="T5" fmla="*/ 729941208 h 2536"/>
                  <a:gd name="T6" fmla="*/ 794460491 w 792"/>
                  <a:gd name="T7" fmla="*/ 729941208 h 2536"/>
                  <a:gd name="T8" fmla="*/ 794460491 w 792"/>
                  <a:gd name="T9" fmla="*/ 729941208 h 2536"/>
                  <a:gd name="T10" fmla="*/ 794460491 w 792"/>
                  <a:gd name="T11" fmla="*/ 729941208 h 2536"/>
                  <a:gd name="T12" fmla="*/ 794460491 w 792"/>
                  <a:gd name="T13" fmla="*/ 729941208 h 2536"/>
                  <a:gd name="T14" fmla="*/ 794460491 w 792"/>
                  <a:gd name="T15" fmla="*/ 729941208 h 2536"/>
                  <a:gd name="T16" fmla="*/ 794460491 w 792"/>
                  <a:gd name="T17" fmla="*/ 729941208 h 2536"/>
                  <a:gd name="T18" fmla="*/ 794460491 w 792"/>
                  <a:gd name="T19" fmla="*/ 729941208 h 2536"/>
                  <a:gd name="T20" fmla="*/ 794460491 w 792"/>
                  <a:gd name="T21" fmla="*/ 729941208 h 2536"/>
                  <a:gd name="T22" fmla="*/ 794460491 w 792"/>
                  <a:gd name="T23" fmla="*/ 729941208 h 2536"/>
                  <a:gd name="T24" fmla="*/ 794460491 w 792"/>
                  <a:gd name="T25" fmla="*/ 729941208 h 2536"/>
                  <a:gd name="T26" fmla="*/ 794460491 w 792"/>
                  <a:gd name="T27" fmla="*/ 729941208 h 2536"/>
                  <a:gd name="T28" fmla="*/ 0 w 792"/>
                  <a:gd name="T29" fmla="*/ 729941208 h 2536"/>
                  <a:gd name="T30" fmla="*/ 794460491 w 792"/>
                  <a:gd name="T31" fmla="*/ 729941208 h 2536"/>
                  <a:gd name="T32" fmla="*/ 794460491 w 792"/>
                  <a:gd name="T33" fmla="*/ 729941208 h 2536"/>
                  <a:gd name="T34" fmla="*/ 794460491 w 792"/>
                  <a:gd name="T35" fmla="*/ 729941208 h 2536"/>
                  <a:gd name="T36" fmla="*/ 794460491 w 792"/>
                  <a:gd name="T37" fmla="*/ 729941208 h 2536"/>
                  <a:gd name="T38" fmla="*/ 794460491 w 792"/>
                  <a:gd name="T39" fmla="*/ 729941208 h 2536"/>
                  <a:gd name="T40" fmla="*/ 794460491 w 792"/>
                  <a:gd name="T41" fmla="*/ 729941208 h 2536"/>
                  <a:gd name="T42" fmla="*/ 794460491 w 792"/>
                  <a:gd name="T43" fmla="*/ 729941208 h 2536"/>
                  <a:gd name="T44" fmla="*/ 794460491 w 792"/>
                  <a:gd name="T45" fmla="*/ 729941208 h 2536"/>
                  <a:gd name="T46" fmla="*/ 794460491 w 792"/>
                  <a:gd name="T47" fmla="*/ 729941208 h 2536"/>
                  <a:gd name="T48" fmla="*/ 794460491 w 792"/>
                  <a:gd name="T49" fmla="*/ 729941208 h 2536"/>
                  <a:gd name="T50" fmla="*/ 794460491 w 792"/>
                  <a:gd name="T51" fmla="*/ 729941208 h 2536"/>
                  <a:gd name="T52" fmla="*/ 794460491 w 792"/>
                  <a:gd name="T53" fmla="*/ 729941208 h 2536"/>
                  <a:gd name="T54" fmla="*/ 794460491 w 792"/>
                  <a:gd name="T55" fmla="*/ 729941208 h 2536"/>
                  <a:gd name="T56" fmla="*/ 794460491 w 792"/>
                  <a:gd name="T57" fmla="*/ 729941208 h 2536"/>
                  <a:gd name="T58" fmla="*/ 794460491 w 792"/>
                  <a:gd name="T59" fmla="*/ 729941208 h 2536"/>
                  <a:gd name="T60" fmla="*/ 794460491 w 792"/>
                  <a:gd name="T61" fmla="*/ 729941208 h 2536"/>
                  <a:gd name="T62" fmla="*/ 794460491 w 792"/>
                  <a:gd name="T63" fmla="*/ 729941208 h 2536"/>
                  <a:gd name="T64" fmla="*/ 794460491 w 792"/>
                  <a:gd name="T65" fmla="*/ 729941208 h 2536"/>
                  <a:gd name="T66" fmla="*/ 794460491 w 792"/>
                  <a:gd name="T67" fmla="*/ 729941208 h 2536"/>
                  <a:gd name="T68" fmla="*/ 794460491 w 792"/>
                  <a:gd name="T69" fmla="*/ 729941208 h 2536"/>
                  <a:gd name="T70" fmla="*/ 794460491 w 792"/>
                  <a:gd name="T71" fmla="*/ 729941208 h 2536"/>
                  <a:gd name="T72" fmla="*/ 794460491 w 792"/>
                  <a:gd name="T73" fmla="*/ 729941208 h 2536"/>
                  <a:gd name="T74" fmla="*/ 794460491 w 792"/>
                  <a:gd name="T75" fmla="*/ 729941208 h 2536"/>
                  <a:gd name="T76" fmla="*/ 794460491 w 792"/>
                  <a:gd name="T77" fmla="*/ 729941208 h 2536"/>
                  <a:gd name="T78" fmla="*/ 794460491 w 792"/>
                  <a:gd name="T79" fmla="*/ 729941208 h 2536"/>
                  <a:gd name="T80" fmla="*/ 794460491 w 792"/>
                  <a:gd name="T81" fmla="*/ 729941208 h 2536"/>
                  <a:gd name="T82" fmla="*/ 794460491 w 792"/>
                  <a:gd name="T83" fmla="*/ 729941208 h 2536"/>
                  <a:gd name="T84" fmla="*/ 794460491 w 792"/>
                  <a:gd name="T85" fmla="*/ 729941208 h 2536"/>
                  <a:gd name="T86" fmla="*/ 794460491 w 792"/>
                  <a:gd name="T87" fmla="*/ 729941208 h 2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92"/>
                  <a:gd name="T133" fmla="*/ 0 h 2536"/>
                  <a:gd name="T134" fmla="*/ 792 w 792"/>
                  <a:gd name="T135" fmla="*/ 2536 h 2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92" h="2536">
                    <a:moveTo>
                      <a:pt x="752" y="900"/>
                    </a:moveTo>
                    <a:cubicBezTo>
                      <a:pt x="752" y="888"/>
                      <a:pt x="744" y="880"/>
                      <a:pt x="740" y="872"/>
                    </a:cubicBezTo>
                    <a:cubicBezTo>
                      <a:pt x="720" y="760"/>
                      <a:pt x="736" y="656"/>
                      <a:pt x="724" y="548"/>
                    </a:cubicBezTo>
                    <a:cubicBezTo>
                      <a:pt x="724" y="524"/>
                      <a:pt x="724" y="500"/>
                      <a:pt x="716" y="480"/>
                    </a:cubicBezTo>
                    <a:cubicBezTo>
                      <a:pt x="712" y="472"/>
                      <a:pt x="704" y="464"/>
                      <a:pt x="696" y="456"/>
                    </a:cubicBezTo>
                    <a:cubicBezTo>
                      <a:pt x="688" y="452"/>
                      <a:pt x="668" y="452"/>
                      <a:pt x="672" y="444"/>
                    </a:cubicBezTo>
                    <a:cubicBezTo>
                      <a:pt x="688" y="332"/>
                      <a:pt x="664" y="224"/>
                      <a:pt x="656" y="116"/>
                    </a:cubicBezTo>
                    <a:cubicBezTo>
                      <a:pt x="652" y="56"/>
                      <a:pt x="600" y="0"/>
                      <a:pt x="532" y="8"/>
                    </a:cubicBezTo>
                    <a:cubicBezTo>
                      <a:pt x="512" y="12"/>
                      <a:pt x="492" y="16"/>
                      <a:pt x="472" y="32"/>
                    </a:cubicBezTo>
                    <a:cubicBezTo>
                      <a:pt x="440" y="60"/>
                      <a:pt x="416" y="88"/>
                      <a:pt x="400" y="124"/>
                    </a:cubicBezTo>
                    <a:cubicBezTo>
                      <a:pt x="392" y="148"/>
                      <a:pt x="380" y="164"/>
                      <a:pt x="372" y="188"/>
                    </a:cubicBezTo>
                    <a:cubicBezTo>
                      <a:pt x="364" y="212"/>
                      <a:pt x="364" y="232"/>
                      <a:pt x="360" y="256"/>
                    </a:cubicBezTo>
                    <a:cubicBezTo>
                      <a:pt x="356" y="272"/>
                      <a:pt x="364" y="284"/>
                      <a:pt x="364" y="296"/>
                    </a:cubicBezTo>
                    <a:cubicBezTo>
                      <a:pt x="364" y="352"/>
                      <a:pt x="308" y="388"/>
                      <a:pt x="264" y="416"/>
                    </a:cubicBezTo>
                    <a:cubicBezTo>
                      <a:pt x="240" y="432"/>
                      <a:pt x="204" y="428"/>
                      <a:pt x="184" y="452"/>
                    </a:cubicBezTo>
                    <a:cubicBezTo>
                      <a:pt x="144" y="496"/>
                      <a:pt x="160" y="556"/>
                      <a:pt x="144" y="608"/>
                    </a:cubicBezTo>
                    <a:cubicBezTo>
                      <a:pt x="144" y="612"/>
                      <a:pt x="156" y="616"/>
                      <a:pt x="152" y="628"/>
                    </a:cubicBezTo>
                    <a:cubicBezTo>
                      <a:pt x="148" y="696"/>
                      <a:pt x="156" y="764"/>
                      <a:pt x="140" y="832"/>
                    </a:cubicBezTo>
                    <a:cubicBezTo>
                      <a:pt x="128" y="876"/>
                      <a:pt x="120" y="916"/>
                      <a:pt x="116" y="960"/>
                    </a:cubicBezTo>
                    <a:cubicBezTo>
                      <a:pt x="112" y="1024"/>
                      <a:pt x="116" y="1088"/>
                      <a:pt x="116" y="1152"/>
                    </a:cubicBezTo>
                    <a:cubicBezTo>
                      <a:pt x="116" y="1212"/>
                      <a:pt x="108" y="1272"/>
                      <a:pt x="96" y="1336"/>
                    </a:cubicBezTo>
                    <a:cubicBezTo>
                      <a:pt x="92" y="1360"/>
                      <a:pt x="104" y="1384"/>
                      <a:pt x="120" y="1404"/>
                    </a:cubicBezTo>
                    <a:cubicBezTo>
                      <a:pt x="136" y="1424"/>
                      <a:pt x="164" y="1432"/>
                      <a:pt x="188" y="1436"/>
                    </a:cubicBezTo>
                    <a:cubicBezTo>
                      <a:pt x="192" y="1436"/>
                      <a:pt x="196" y="1440"/>
                      <a:pt x="196" y="1444"/>
                    </a:cubicBezTo>
                    <a:cubicBezTo>
                      <a:pt x="192" y="1540"/>
                      <a:pt x="192" y="1636"/>
                      <a:pt x="180" y="1736"/>
                    </a:cubicBezTo>
                    <a:cubicBezTo>
                      <a:pt x="180" y="1744"/>
                      <a:pt x="188" y="1748"/>
                      <a:pt x="188" y="1752"/>
                    </a:cubicBezTo>
                    <a:cubicBezTo>
                      <a:pt x="188" y="1820"/>
                      <a:pt x="152" y="1884"/>
                      <a:pt x="148" y="1956"/>
                    </a:cubicBezTo>
                    <a:cubicBezTo>
                      <a:pt x="144" y="2056"/>
                      <a:pt x="156" y="2152"/>
                      <a:pt x="148" y="2252"/>
                    </a:cubicBezTo>
                    <a:cubicBezTo>
                      <a:pt x="148" y="2316"/>
                      <a:pt x="120" y="2376"/>
                      <a:pt x="88" y="2432"/>
                    </a:cubicBezTo>
                    <a:cubicBezTo>
                      <a:pt x="64" y="2468"/>
                      <a:pt x="24" y="2484"/>
                      <a:pt x="0" y="2516"/>
                    </a:cubicBezTo>
                    <a:cubicBezTo>
                      <a:pt x="52" y="2512"/>
                      <a:pt x="104" y="2516"/>
                      <a:pt x="152" y="2492"/>
                    </a:cubicBezTo>
                    <a:cubicBezTo>
                      <a:pt x="148" y="2460"/>
                      <a:pt x="180" y="2424"/>
                      <a:pt x="208" y="2424"/>
                    </a:cubicBezTo>
                    <a:cubicBezTo>
                      <a:pt x="224" y="2428"/>
                      <a:pt x="204" y="2460"/>
                      <a:pt x="220" y="2476"/>
                    </a:cubicBezTo>
                    <a:cubicBezTo>
                      <a:pt x="220" y="2448"/>
                      <a:pt x="224" y="2420"/>
                      <a:pt x="244" y="2396"/>
                    </a:cubicBezTo>
                    <a:cubicBezTo>
                      <a:pt x="268" y="2372"/>
                      <a:pt x="248" y="2336"/>
                      <a:pt x="224" y="2312"/>
                    </a:cubicBezTo>
                    <a:cubicBezTo>
                      <a:pt x="224" y="2308"/>
                      <a:pt x="221" y="2300"/>
                      <a:pt x="220" y="2292"/>
                    </a:cubicBezTo>
                    <a:cubicBezTo>
                      <a:pt x="216" y="2244"/>
                      <a:pt x="224" y="2196"/>
                      <a:pt x="236" y="2144"/>
                    </a:cubicBezTo>
                    <a:cubicBezTo>
                      <a:pt x="244" y="2084"/>
                      <a:pt x="264" y="2032"/>
                      <a:pt x="280" y="1972"/>
                    </a:cubicBezTo>
                    <a:cubicBezTo>
                      <a:pt x="296" y="1916"/>
                      <a:pt x="284" y="1856"/>
                      <a:pt x="304" y="1800"/>
                    </a:cubicBezTo>
                    <a:cubicBezTo>
                      <a:pt x="308" y="1784"/>
                      <a:pt x="312" y="1760"/>
                      <a:pt x="328" y="1752"/>
                    </a:cubicBezTo>
                    <a:cubicBezTo>
                      <a:pt x="352" y="1740"/>
                      <a:pt x="380" y="1740"/>
                      <a:pt x="404" y="1744"/>
                    </a:cubicBezTo>
                    <a:cubicBezTo>
                      <a:pt x="432" y="1744"/>
                      <a:pt x="460" y="1748"/>
                      <a:pt x="488" y="1752"/>
                    </a:cubicBezTo>
                    <a:cubicBezTo>
                      <a:pt x="500" y="1756"/>
                      <a:pt x="504" y="1768"/>
                      <a:pt x="508" y="1780"/>
                    </a:cubicBezTo>
                    <a:cubicBezTo>
                      <a:pt x="512" y="1840"/>
                      <a:pt x="496" y="1896"/>
                      <a:pt x="488" y="1956"/>
                    </a:cubicBezTo>
                    <a:cubicBezTo>
                      <a:pt x="484" y="2024"/>
                      <a:pt x="496" y="2092"/>
                      <a:pt x="480" y="2164"/>
                    </a:cubicBezTo>
                    <a:cubicBezTo>
                      <a:pt x="476" y="2192"/>
                      <a:pt x="476" y="2220"/>
                      <a:pt x="468" y="2248"/>
                    </a:cubicBezTo>
                    <a:cubicBezTo>
                      <a:pt x="460" y="2272"/>
                      <a:pt x="448" y="2292"/>
                      <a:pt x="444" y="2320"/>
                    </a:cubicBezTo>
                    <a:cubicBezTo>
                      <a:pt x="440" y="2328"/>
                      <a:pt x="428" y="2328"/>
                      <a:pt x="428" y="2340"/>
                    </a:cubicBezTo>
                    <a:cubicBezTo>
                      <a:pt x="424" y="2352"/>
                      <a:pt x="420" y="2364"/>
                      <a:pt x="420" y="2376"/>
                    </a:cubicBezTo>
                    <a:cubicBezTo>
                      <a:pt x="424" y="2392"/>
                      <a:pt x="440" y="2404"/>
                      <a:pt x="444" y="2416"/>
                    </a:cubicBezTo>
                    <a:cubicBezTo>
                      <a:pt x="452" y="2432"/>
                      <a:pt x="452" y="2452"/>
                      <a:pt x="448" y="2468"/>
                    </a:cubicBezTo>
                    <a:cubicBezTo>
                      <a:pt x="444" y="2476"/>
                      <a:pt x="436" y="2488"/>
                      <a:pt x="444" y="2496"/>
                    </a:cubicBezTo>
                    <a:cubicBezTo>
                      <a:pt x="480" y="2524"/>
                      <a:pt x="564" y="2536"/>
                      <a:pt x="552" y="2472"/>
                    </a:cubicBezTo>
                    <a:cubicBezTo>
                      <a:pt x="540" y="2432"/>
                      <a:pt x="512" y="2392"/>
                      <a:pt x="516" y="2348"/>
                    </a:cubicBezTo>
                    <a:cubicBezTo>
                      <a:pt x="516" y="2312"/>
                      <a:pt x="520" y="2276"/>
                      <a:pt x="532" y="2240"/>
                    </a:cubicBezTo>
                    <a:cubicBezTo>
                      <a:pt x="596" y="2088"/>
                      <a:pt x="640" y="1932"/>
                      <a:pt x="624" y="1768"/>
                    </a:cubicBezTo>
                    <a:cubicBezTo>
                      <a:pt x="652" y="1744"/>
                      <a:pt x="696" y="1748"/>
                      <a:pt x="732" y="1748"/>
                    </a:cubicBezTo>
                    <a:cubicBezTo>
                      <a:pt x="736" y="1640"/>
                      <a:pt x="708" y="1536"/>
                      <a:pt x="724" y="1428"/>
                    </a:cubicBezTo>
                    <a:cubicBezTo>
                      <a:pt x="728" y="1408"/>
                      <a:pt x="756" y="1416"/>
                      <a:pt x="768" y="1404"/>
                    </a:cubicBezTo>
                    <a:cubicBezTo>
                      <a:pt x="784" y="1392"/>
                      <a:pt x="792" y="1368"/>
                      <a:pt x="792" y="1356"/>
                    </a:cubicBezTo>
                    <a:cubicBezTo>
                      <a:pt x="740" y="1204"/>
                      <a:pt x="784" y="1060"/>
                      <a:pt x="752" y="900"/>
                    </a:cubicBezTo>
                    <a:close/>
                    <a:moveTo>
                      <a:pt x="208" y="1272"/>
                    </a:moveTo>
                    <a:cubicBezTo>
                      <a:pt x="200" y="1316"/>
                      <a:pt x="200" y="1364"/>
                      <a:pt x="200" y="1408"/>
                    </a:cubicBezTo>
                    <a:cubicBezTo>
                      <a:pt x="200" y="1416"/>
                      <a:pt x="204" y="1432"/>
                      <a:pt x="192" y="1428"/>
                    </a:cubicBezTo>
                    <a:cubicBezTo>
                      <a:pt x="176" y="1428"/>
                      <a:pt x="172" y="1420"/>
                      <a:pt x="160" y="1408"/>
                    </a:cubicBezTo>
                    <a:cubicBezTo>
                      <a:pt x="160" y="1404"/>
                      <a:pt x="160" y="1400"/>
                      <a:pt x="160" y="1396"/>
                    </a:cubicBezTo>
                    <a:cubicBezTo>
                      <a:pt x="148" y="1400"/>
                      <a:pt x="140" y="1388"/>
                      <a:pt x="136" y="1376"/>
                    </a:cubicBezTo>
                    <a:cubicBezTo>
                      <a:pt x="128" y="1356"/>
                      <a:pt x="132" y="1324"/>
                      <a:pt x="148" y="1324"/>
                    </a:cubicBezTo>
                    <a:cubicBezTo>
                      <a:pt x="172" y="1320"/>
                      <a:pt x="164" y="1364"/>
                      <a:pt x="172" y="1384"/>
                    </a:cubicBezTo>
                    <a:cubicBezTo>
                      <a:pt x="176" y="1388"/>
                      <a:pt x="180" y="1388"/>
                      <a:pt x="184" y="1388"/>
                    </a:cubicBezTo>
                    <a:cubicBezTo>
                      <a:pt x="180" y="1352"/>
                      <a:pt x="184" y="1312"/>
                      <a:pt x="176" y="1276"/>
                    </a:cubicBezTo>
                    <a:cubicBezTo>
                      <a:pt x="172" y="1252"/>
                      <a:pt x="152" y="1236"/>
                      <a:pt x="156" y="1208"/>
                    </a:cubicBezTo>
                    <a:cubicBezTo>
                      <a:pt x="180" y="1060"/>
                      <a:pt x="224" y="928"/>
                      <a:pt x="232" y="780"/>
                    </a:cubicBezTo>
                    <a:cubicBezTo>
                      <a:pt x="232" y="756"/>
                      <a:pt x="224" y="724"/>
                      <a:pt x="248" y="712"/>
                    </a:cubicBezTo>
                    <a:cubicBezTo>
                      <a:pt x="264" y="704"/>
                      <a:pt x="257" y="732"/>
                      <a:pt x="260" y="744"/>
                    </a:cubicBezTo>
                    <a:cubicBezTo>
                      <a:pt x="304" y="928"/>
                      <a:pt x="224" y="1092"/>
                      <a:pt x="208" y="1272"/>
                    </a:cubicBezTo>
                    <a:close/>
                    <a:moveTo>
                      <a:pt x="656" y="876"/>
                    </a:moveTo>
                    <a:cubicBezTo>
                      <a:pt x="656" y="888"/>
                      <a:pt x="641" y="882"/>
                      <a:pt x="632" y="876"/>
                    </a:cubicBezTo>
                    <a:cubicBezTo>
                      <a:pt x="620" y="868"/>
                      <a:pt x="620" y="852"/>
                      <a:pt x="624" y="844"/>
                    </a:cubicBezTo>
                    <a:cubicBezTo>
                      <a:pt x="632" y="824"/>
                      <a:pt x="624" y="800"/>
                      <a:pt x="616" y="780"/>
                    </a:cubicBezTo>
                    <a:cubicBezTo>
                      <a:pt x="608" y="764"/>
                      <a:pt x="608" y="744"/>
                      <a:pt x="624" y="728"/>
                    </a:cubicBezTo>
                    <a:cubicBezTo>
                      <a:pt x="628" y="728"/>
                      <a:pt x="632" y="728"/>
                      <a:pt x="636" y="728"/>
                    </a:cubicBezTo>
                    <a:cubicBezTo>
                      <a:pt x="664" y="776"/>
                      <a:pt x="660" y="828"/>
                      <a:pt x="656" y="876"/>
                    </a:cubicBezTo>
                    <a:close/>
                    <a:moveTo>
                      <a:pt x="728" y="1400"/>
                    </a:moveTo>
                    <a:cubicBezTo>
                      <a:pt x="724" y="1400"/>
                      <a:pt x="716" y="1392"/>
                      <a:pt x="720" y="1384"/>
                    </a:cubicBezTo>
                    <a:cubicBezTo>
                      <a:pt x="728" y="1364"/>
                      <a:pt x="716" y="1332"/>
                      <a:pt x="748" y="1332"/>
                    </a:cubicBezTo>
                    <a:cubicBezTo>
                      <a:pt x="752" y="1332"/>
                      <a:pt x="752" y="1341"/>
                      <a:pt x="756" y="1348"/>
                    </a:cubicBezTo>
                    <a:cubicBezTo>
                      <a:pt x="768" y="1372"/>
                      <a:pt x="756" y="1400"/>
                      <a:pt x="728" y="1400"/>
                    </a:cubicBezTo>
                    <a:close/>
                  </a:path>
                </a:pathLst>
              </a:custGeom>
              <a:solidFill>
                <a:schemeClr val="tx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444" name="AutoShape 22">
                <a:extLst>
                  <a:ext uri="{FF2B5EF4-FFF2-40B4-BE49-F238E27FC236}">
                    <a16:creationId xmlns:a16="http://schemas.microsoft.com/office/drawing/2014/main" id="{D7F9352A-6DF9-4416-AB5E-CB04E84DF97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642856" y="3820290"/>
                <a:ext cx="139656" cy="340512"/>
              </a:xfrm>
              <a:custGeom>
                <a:avLst/>
                <a:gdLst>
                  <a:gd name="T0" fmla="*/ 808464432 w 680"/>
                  <a:gd name="T1" fmla="*/ 813928491 h 2335"/>
                  <a:gd name="T2" fmla="*/ 808464432 w 680"/>
                  <a:gd name="T3" fmla="*/ 813928491 h 2335"/>
                  <a:gd name="T4" fmla="*/ 808464432 w 680"/>
                  <a:gd name="T5" fmla="*/ 813928491 h 2335"/>
                  <a:gd name="T6" fmla="*/ 808464432 w 680"/>
                  <a:gd name="T7" fmla="*/ 813928491 h 2335"/>
                  <a:gd name="T8" fmla="*/ 808464432 w 680"/>
                  <a:gd name="T9" fmla="*/ 813928491 h 2335"/>
                  <a:gd name="T10" fmla="*/ 808464432 w 680"/>
                  <a:gd name="T11" fmla="*/ 813928491 h 2335"/>
                  <a:gd name="T12" fmla="*/ 808464432 w 680"/>
                  <a:gd name="T13" fmla="*/ 813928491 h 2335"/>
                  <a:gd name="T14" fmla="*/ 808464432 w 680"/>
                  <a:gd name="T15" fmla="*/ 813928491 h 2335"/>
                  <a:gd name="T16" fmla="*/ 808464432 w 680"/>
                  <a:gd name="T17" fmla="*/ 813928491 h 2335"/>
                  <a:gd name="T18" fmla="*/ 808464432 w 680"/>
                  <a:gd name="T19" fmla="*/ 813928491 h 2335"/>
                  <a:gd name="T20" fmla="*/ 808464432 w 680"/>
                  <a:gd name="T21" fmla="*/ 813928491 h 2335"/>
                  <a:gd name="T22" fmla="*/ 808464432 w 680"/>
                  <a:gd name="T23" fmla="*/ 813928491 h 2335"/>
                  <a:gd name="T24" fmla="*/ 808464432 w 680"/>
                  <a:gd name="T25" fmla="*/ 813928491 h 2335"/>
                  <a:gd name="T26" fmla="*/ 808464432 w 680"/>
                  <a:gd name="T27" fmla="*/ 813928491 h 2335"/>
                  <a:gd name="T28" fmla="*/ 808464432 w 680"/>
                  <a:gd name="T29" fmla="*/ 813928491 h 2335"/>
                  <a:gd name="T30" fmla="*/ 808464432 w 680"/>
                  <a:gd name="T31" fmla="*/ 813928491 h 2335"/>
                  <a:gd name="T32" fmla="*/ 808464432 w 680"/>
                  <a:gd name="T33" fmla="*/ 813928491 h 2335"/>
                  <a:gd name="T34" fmla="*/ 808464432 w 680"/>
                  <a:gd name="T35" fmla="*/ 813928491 h 2335"/>
                  <a:gd name="T36" fmla="*/ 808464432 w 680"/>
                  <a:gd name="T37" fmla="*/ 813928491 h 2335"/>
                  <a:gd name="T38" fmla="*/ 808464432 w 680"/>
                  <a:gd name="T39" fmla="*/ 813928491 h 2335"/>
                  <a:gd name="T40" fmla="*/ 808464432 w 680"/>
                  <a:gd name="T41" fmla="*/ 813928491 h 2335"/>
                  <a:gd name="T42" fmla="*/ 808464432 w 680"/>
                  <a:gd name="T43" fmla="*/ 813928491 h 2335"/>
                  <a:gd name="T44" fmla="*/ 808464432 w 680"/>
                  <a:gd name="T45" fmla="*/ 813928491 h 2335"/>
                  <a:gd name="T46" fmla="*/ 808464432 w 680"/>
                  <a:gd name="T47" fmla="*/ 813928491 h 2335"/>
                  <a:gd name="T48" fmla="*/ 808464432 w 680"/>
                  <a:gd name="T49" fmla="*/ 813928491 h 2335"/>
                  <a:gd name="T50" fmla="*/ 808464432 w 680"/>
                  <a:gd name="T51" fmla="*/ 813928491 h 2335"/>
                  <a:gd name="T52" fmla="*/ 808464432 w 680"/>
                  <a:gd name="T53" fmla="*/ 813928491 h 2335"/>
                  <a:gd name="T54" fmla="*/ 808464432 w 680"/>
                  <a:gd name="T55" fmla="*/ 813928491 h 2335"/>
                  <a:gd name="T56" fmla="*/ 808464432 w 680"/>
                  <a:gd name="T57" fmla="*/ 813928491 h 2335"/>
                  <a:gd name="T58" fmla="*/ 808464432 w 680"/>
                  <a:gd name="T59" fmla="*/ 813928491 h 2335"/>
                  <a:gd name="T60" fmla="*/ 808464432 w 680"/>
                  <a:gd name="T61" fmla="*/ 813928491 h 2335"/>
                  <a:gd name="T62" fmla="*/ 808464432 w 680"/>
                  <a:gd name="T63" fmla="*/ 813928491 h 2335"/>
                  <a:gd name="T64" fmla="*/ 808464432 w 680"/>
                  <a:gd name="T65" fmla="*/ 813928491 h 2335"/>
                  <a:gd name="T66" fmla="*/ 808464432 w 680"/>
                  <a:gd name="T67" fmla="*/ 813928491 h 2335"/>
                  <a:gd name="T68" fmla="*/ 808464432 w 680"/>
                  <a:gd name="T69" fmla="*/ 813928491 h 2335"/>
                  <a:gd name="T70" fmla="*/ 808464432 w 680"/>
                  <a:gd name="T71" fmla="*/ 813928491 h 2335"/>
                  <a:gd name="T72" fmla="*/ 808464432 w 680"/>
                  <a:gd name="T73" fmla="*/ 813928491 h 2335"/>
                  <a:gd name="T74" fmla="*/ 808464432 w 680"/>
                  <a:gd name="T75" fmla="*/ 813928491 h 2335"/>
                  <a:gd name="T76" fmla="*/ 808464432 w 680"/>
                  <a:gd name="T77" fmla="*/ 813928491 h 2335"/>
                  <a:gd name="T78" fmla="*/ 808464432 w 680"/>
                  <a:gd name="T79" fmla="*/ 813928491 h 2335"/>
                  <a:gd name="T80" fmla="*/ 808464432 w 680"/>
                  <a:gd name="T81" fmla="*/ 813928491 h 2335"/>
                  <a:gd name="T82" fmla="*/ 808464432 w 680"/>
                  <a:gd name="T83" fmla="*/ 813928491 h 2335"/>
                  <a:gd name="T84" fmla="*/ 808464432 w 680"/>
                  <a:gd name="T85" fmla="*/ 813928491 h 2335"/>
                  <a:gd name="T86" fmla="*/ 808464432 w 680"/>
                  <a:gd name="T87" fmla="*/ 813928491 h 2335"/>
                  <a:gd name="T88" fmla="*/ 808464432 w 680"/>
                  <a:gd name="T89" fmla="*/ 813928491 h 2335"/>
                  <a:gd name="T90" fmla="*/ 808464432 w 680"/>
                  <a:gd name="T91" fmla="*/ 813928491 h 2335"/>
                  <a:gd name="T92" fmla="*/ 808464432 w 680"/>
                  <a:gd name="T93" fmla="*/ 813928491 h 2335"/>
                  <a:gd name="T94" fmla="*/ 808464432 w 680"/>
                  <a:gd name="T95" fmla="*/ 813928491 h 2335"/>
                  <a:gd name="T96" fmla="*/ 808464432 w 680"/>
                  <a:gd name="T97" fmla="*/ 813928491 h 2335"/>
                  <a:gd name="T98" fmla="*/ 808464432 w 680"/>
                  <a:gd name="T99" fmla="*/ 813928491 h 2335"/>
                  <a:gd name="T100" fmla="*/ 808464432 w 680"/>
                  <a:gd name="T101" fmla="*/ 813928491 h 2335"/>
                  <a:gd name="T102" fmla="*/ 808464432 w 680"/>
                  <a:gd name="T103" fmla="*/ 813928491 h 2335"/>
                  <a:gd name="T104" fmla="*/ 808464432 w 680"/>
                  <a:gd name="T105" fmla="*/ 813928491 h 2335"/>
                  <a:gd name="T106" fmla="*/ 808464432 w 680"/>
                  <a:gd name="T107" fmla="*/ 813928491 h 2335"/>
                  <a:gd name="T108" fmla="*/ 808464432 w 680"/>
                  <a:gd name="T109" fmla="*/ 813928491 h 2335"/>
                  <a:gd name="T110" fmla="*/ 808464432 w 680"/>
                  <a:gd name="T111" fmla="*/ 813928491 h 2335"/>
                  <a:gd name="T112" fmla="*/ 808464432 w 680"/>
                  <a:gd name="T113" fmla="*/ 813928491 h 2335"/>
                  <a:gd name="T114" fmla="*/ 808464432 w 680"/>
                  <a:gd name="T115" fmla="*/ 813928491 h 2335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80"/>
                  <a:gd name="T175" fmla="*/ 0 h 2335"/>
                  <a:gd name="T176" fmla="*/ 680 w 680"/>
                  <a:gd name="T177" fmla="*/ 2335 h 2335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80" h="2335">
                    <a:moveTo>
                      <a:pt x="676" y="998"/>
                    </a:moveTo>
                    <a:cubicBezTo>
                      <a:pt x="670" y="976"/>
                      <a:pt x="677" y="952"/>
                      <a:pt x="674" y="929"/>
                    </a:cubicBezTo>
                    <a:cubicBezTo>
                      <a:pt x="673" y="919"/>
                      <a:pt x="670" y="909"/>
                      <a:pt x="668" y="898"/>
                    </a:cubicBezTo>
                    <a:cubicBezTo>
                      <a:pt x="666" y="885"/>
                      <a:pt x="667" y="872"/>
                      <a:pt x="667" y="859"/>
                    </a:cubicBezTo>
                    <a:cubicBezTo>
                      <a:pt x="666" y="834"/>
                      <a:pt x="662" y="810"/>
                      <a:pt x="662" y="785"/>
                    </a:cubicBezTo>
                    <a:cubicBezTo>
                      <a:pt x="663" y="759"/>
                      <a:pt x="664" y="732"/>
                      <a:pt x="662" y="706"/>
                    </a:cubicBezTo>
                    <a:cubicBezTo>
                      <a:pt x="657" y="647"/>
                      <a:pt x="645" y="590"/>
                      <a:pt x="632" y="533"/>
                    </a:cubicBezTo>
                    <a:cubicBezTo>
                      <a:pt x="628" y="513"/>
                      <a:pt x="623" y="492"/>
                      <a:pt x="618" y="472"/>
                    </a:cubicBezTo>
                    <a:cubicBezTo>
                      <a:pt x="613" y="453"/>
                      <a:pt x="607" y="436"/>
                      <a:pt x="592" y="423"/>
                    </a:cubicBezTo>
                    <a:cubicBezTo>
                      <a:pt x="572" y="405"/>
                      <a:pt x="547" y="403"/>
                      <a:pt x="524" y="392"/>
                    </a:cubicBezTo>
                    <a:cubicBezTo>
                      <a:pt x="506" y="384"/>
                      <a:pt x="489" y="373"/>
                      <a:pt x="471" y="364"/>
                    </a:cubicBezTo>
                    <a:cubicBezTo>
                      <a:pt x="463" y="361"/>
                      <a:pt x="455" y="357"/>
                      <a:pt x="449" y="351"/>
                    </a:cubicBezTo>
                    <a:cubicBezTo>
                      <a:pt x="443" y="344"/>
                      <a:pt x="438" y="342"/>
                      <a:pt x="430" y="339"/>
                    </a:cubicBezTo>
                    <a:cubicBezTo>
                      <a:pt x="420" y="336"/>
                      <a:pt x="415" y="332"/>
                      <a:pt x="415" y="323"/>
                    </a:cubicBezTo>
                    <a:cubicBezTo>
                      <a:pt x="415" y="314"/>
                      <a:pt x="415" y="304"/>
                      <a:pt x="414" y="294"/>
                    </a:cubicBezTo>
                    <a:cubicBezTo>
                      <a:pt x="413" y="285"/>
                      <a:pt x="412" y="279"/>
                      <a:pt x="419" y="272"/>
                    </a:cubicBezTo>
                    <a:cubicBezTo>
                      <a:pt x="426" y="263"/>
                      <a:pt x="428" y="252"/>
                      <a:pt x="429" y="241"/>
                    </a:cubicBezTo>
                    <a:cubicBezTo>
                      <a:pt x="430" y="234"/>
                      <a:pt x="431" y="227"/>
                      <a:pt x="431" y="220"/>
                    </a:cubicBezTo>
                    <a:cubicBezTo>
                      <a:pt x="431" y="214"/>
                      <a:pt x="431" y="215"/>
                      <a:pt x="436" y="216"/>
                    </a:cubicBezTo>
                    <a:cubicBezTo>
                      <a:pt x="450" y="219"/>
                      <a:pt x="451" y="211"/>
                      <a:pt x="456" y="200"/>
                    </a:cubicBezTo>
                    <a:cubicBezTo>
                      <a:pt x="461" y="190"/>
                      <a:pt x="474" y="134"/>
                      <a:pt x="449" y="140"/>
                    </a:cubicBezTo>
                    <a:cubicBezTo>
                      <a:pt x="446" y="141"/>
                      <a:pt x="449" y="130"/>
                      <a:pt x="449" y="128"/>
                    </a:cubicBezTo>
                    <a:cubicBezTo>
                      <a:pt x="450" y="121"/>
                      <a:pt x="453" y="114"/>
                      <a:pt x="451" y="106"/>
                    </a:cubicBezTo>
                    <a:cubicBezTo>
                      <a:pt x="448" y="95"/>
                      <a:pt x="452" y="86"/>
                      <a:pt x="450" y="76"/>
                    </a:cubicBezTo>
                    <a:cubicBezTo>
                      <a:pt x="449" y="66"/>
                      <a:pt x="442" y="57"/>
                      <a:pt x="438" y="48"/>
                    </a:cubicBezTo>
                    <a:cubicBezTo>
                      <a:pt x="435" y="43"/>
                      <a:pt x="435" y="38"/>
                      <a:pt x="429" y="35"/>
                    </a:cubicBezTo>
                    <a:cubicBezTo>
                      <a:pt x="423" y="32"/>
                      <a:pt x="421" y="28"/>
                      <a:pt x="416" y="24"/>
                    </a:cubicBezTo>
                    <a:cubicBezTo>
                      <a:pt x="408" y="17"/>
                      <a:pt x="397" y="5"/>
                      <a:pt x="386" y="7"/>
                    </a:cubicBezTo>
                    <a:cubicBezTo>
                      <a:pt x="381" y="9"/>
                      <a:pt x="376" y="5"/>
                      <a:pt x="371" y="3"/>
                    </a:cubicBezTo>
                    <a:cubicBezTo>
                      <a:pt x="369" y="3"/>
                      <a:pt x="366" y="3"/>
                      <a:pt x="364" y="3"/>
                    </a:cubicBezTo>
                    <a:cubicBezTo>
                      <a:pt x="360" y="3"/>
                      <a:pt x="356" y="0"/>
                      <a:pt x="352" y="0"/>
                    </a:cubicBezTo>
                    <a:cubicBezTo>
                      <a:pt x="346" y="0"/>
                      <a:pt x="338" y="1"/>
                      <a:pt x="332" y="1"/>
                    </a:cubicBezTo>
                    <a:cubicBezTo>
                      <a:pt x="330" y="2"/>
                      <a:pt x="328" y="4"/>
                      <a:pt x="325" y="4"/>
                    </a:cubicBezTo>
                    <a:cubicBezTo>
                      <a:pt x="322" y="5"/>
                      <a:pt x="320" y="3"/>
                      <a:pt x="316" y="3"/>
                    </a:cubicBezTo>
                    <a:cubicBezTo>
                      <a:pt x="311" y="3"/>
                      <a:pt x="307" y="9"/>
                      <a:pt x="301" y="10"/>
                    </a:cubicBezTo>
                    <a:cubicBezTo>
                      <a:pt x="299" y="11"/>
                      <a:pt x="297" y="13"/>
                      <a:pt x="295" y="14"/>
                    </a:cubicBezTo>
                    <a:cubicBezTo>
                      <a:pt x="292" y="15"/>
                      <a:pt x="288" y="16"/>
                      <a:pt x="285" y="17"/>
                    </a:cubicBezTo>
                    <a:cubicBezTo>
                      <a:pt x="280" y="20"/>
                      <a:pt x="276" y="22"/>
                      <a:pt x="272" y="25"/>
                    </a:cubicBezTo>
                    <a:cubicBezTo>
                      <a:pt x="269" y="27"/>
                      <a:pt x="268" y="30"/>
                      <a:pt x="266" y="32"/>
                    </a:cubicBezTo>
                    <a:cubicBezTo>
                      <a:pt x="262" y="35"/>
                      <a:pt x="257" y="39"/>
                      <a:pt x="254" y="44"/>
                    </a:cubicBezTo>
                    <a:cubicBezTo>
                      <a:pt x="253" y="47"/>
                      <a:pt x="253" y="50"/>
                      <a:pt x="251" y="53"/>
                    </a:cubicBezTo>
                    <a:cubicBezTo>
                      <a:pt x="250" y="56"/>
                      <a:pt x="247" y="57"/>
                      <a:pt x="245" y="61"/>
                    </a:cubicBezTo>
                    <a:cubicBezTo>
                      <a:pt x="242" y="69"/>
                      <a:pt x="237" y="87"/>
                      <a:pt x="241" y="95"/>
                    </a:cubicBezTo>
                    <a:cubicBezTo>
                      <a:pt x="245" y="104"/>
                      <a:pt x="240" y="115"/>
                      <a:pt x="244" y="124"/>
                    </a:cubicBezTo>
                    <a:cubicBezTo>
                      <a:pt x="245" y="129"/>
                      <a:pt x="239" y="126"/>
                      <a:pt x="236" y="127"/>
                    </a:cubicBezTo>
                    <a:cubicBezTo>
                      <a:pt x="231" y="130"/>
                      <a:pt x="231" y="138"/>
                      <a:pt x="230" y="142"/>
                    </a:cubicBezTo>
                    <a:cubicBezTo>
                      <a:pt x="228" y="155"/>
                      <a:pt x="226" y="170"/>
                      <a:pt x="229" y="183"/>
                    </a:cubicBezTo>
                    <a:cubicBezTo>
                      <a:pt x="233" y="194"/>
                      <a:pt x="238" y="203"/>
                      <a:pt x="250" y="204"/>
                    </a:cubicBezTo>
                    <a:cubicBezTo>
                      <a:pt x="254" y="204"/>
                      <a:pt x="256" y="203"/>
                      <a:pt x="257" y="207"/>
                    </a:cubicBezTo>
                    <a:cubicBezTo>
                      <a:pt x="258" y="212"/>
                      <a:pt x="257" y="219"/>
                      <a:pt x="257" y="224"/>
                    </a:cubicBezTo>
                    <a:cubicBezTo>
                      <a:pt x="257" y="235"/>
                      <a:pt x="258" y="245"/>
                      <a:pt x="263" y="254"/>
                    </a:cubicBezTo>
                    <a:cubicBezTo>
                      <a:pt x="266" y="259"/>
                      <a:pt x="269" y="263"/>
                      <a:pt x="269" y="269"/>
                    </a:cubicBezTo>
                    <a:cubicBezTo>
                      <a:pt x="268" y="274"/>
                      <a:pt x="268" y="278"/>
                      <a:pt x="268" y="283"/>
                    </a:cubicBezTo>
                    <a:cubicBezTo>
                      <a:pt x="268" y="293"/>
                      <a:pt x="268" y="304"/>
                      <a:pt x="268" y="314"/>
                    </a:cubicBezTo>
                    <a:cubicBezTo>
                      <a:pt x="268" y="323"/>
                      <a:pt x="270" y="334"/>
                      <a:pt x="261" y="340"/>
                    </a:cubicBezTo>
                    <a:cubicBezTo>
                      <a:pt x="257" y="343"/>
                      <a:pt x="252" y="346"/>
                      <a:pt x="246" y="348"/>
                    </a:cubicBezTo>
                    <a:cubicBezTo>
                      <a:pt x="242" y="350"/>
                      <a:pt x="238" y="350"/>
                      <a:pt x="234" y="352"/>
                    </a:cubicBezTo>
                    <a:cubicBezTo>
                      <a:pt x="223" y="359"/>
                      <a:pt x="216" y="369"/>
                      <a:pt x="204" y="374"/>
                    </a:cubicBezTo>
                    <a:cubicBezTo>
                      <a:pt x="188" y="382"/>
                      <a:pt x="173" y="392"/>
                      <a:pt x="157" y="400"/>
                    </a:cubicBezTo>
                    <a:cubicBezTo>
                      <a:pt x="138" y="412"/>
                      <a:pt x="115" y="413"/>
                      <a:pt x="96" y="426"/>
                    </a:cubicBezTo>
                    <a:cubicBezTo>
                      <a:pt x="76" y="439"/>
                      <a:pt x="66" y="460"/>
                      <a:pt x="61" y="482"/>
                    </a:cubicBezTo>
                    <a:cubicBezTo>
                      <a:pt x="57" y="497"/>
                      <a:pt x="53" y="511"/>
                      <a:pt x="50" y="526"/>
                    </a:cubicBezTo>
                    <a:cubicBezTo>
                      <a:pt x="44" y="565"/>
                      <a:pt x="38" y="605"/>
                      <a:pt x="33" y="644"/>
                    </a:cubicBezTo>
                    <a:cubicBezTo>
                      <a:pt x="28" y="681"/>
                      <a:pt x="25" y="719"/>
                      <a:pt x="21" y="757"/>
                    </a:cubicBezTo>
                    <a:cubicBezTo>
                      <a:pt x="19" y="777"/>
                      <a:pt x="18" y="797"/>
                      <a:pt x="16" y="817"/>
                    </a:cubicBezTo>
                    <a:cubicBezTo>
                      <a:pt x="14" y="842"/>
                      <a:pt x="9" y="868"/>
                      <a:pt x="7" y="893"/>
                    </a:cubicBezTo>
                    <a:cubicBezTo>
                      <a:pt x="4" y="916"/>
                      <a:pt x="6" y="939"/>
                      <a:pt x="5" y="962"/>
                    </a:cubicBezTo>
                    <a:cubicBezTo>
                      <a:pt x="5" y="972"/>
                      <a:pt x="4" y="982"/>
                      <a:pt x="4" y="992"/>
                    </a:cubicBezTo>
                    <a:cubicBezTo>
                      <a:pt x="4" y="997"/>
                      <a:pt x="5" y="1002"/>
                      <a:pt x="4" y="1007"/>
                    </a:cubicBezTo>
                    <a:cubicBezTo>
                      <a:pt x="4" y="1016"/>
                      <a:pt x="2" y="1024"/>
                      <a:pt x="3" y="1032"/>
                    </a:cubicBezTo>
                    <a:cubicBezTo>
                      <a:pt x="3" y="1041"/>
                      <a:pt x="9" y="1051"/>
                      <a:pt x="7" y="1059"/>
                    </a:cubicBezTo>
                    <a:cubicBezTo>
                      <a:pt x="4" y="1069"/>
                      <a:pt x="8" y="1083"/>
                      <a:pt x="10" y="1094"/>
                    </a:cubicBezTo>
                    <a:cubicBezTo>
                      <a:pt x="12" y="1105"/>
                      <a:pt x="17" y="1115"/>
                      <a:pt x="8" y="1125"/>
                    </a:cubicBezTo>
                    <a:cubicBezTo>
                      <a:pt x="4" y="1129"/>
                      <a:pt x="3" y="1134"/>
                      <a:pt x="3" y="1140"/>
                    </a:cubicBezTo>
                    <a:cubicBezTo>
                      <a:pt x="3" y="1143"/>
                      <a:pt x="3" y="1146"/>
                      <a:pt x="3" y="1150"/>
                    </a:cubicBezTo>
                    <a:cubicBezTo>
                      <a:pt x="4" y="1153"/>
                      <a:pt x="8" y="1158"/>
                      <a:pt x="7" y="1161"/>
                    </a:cubicBezTo>
                    <a:cubicBezTo>
                      <a:pt x="5" y="1167"/>
                      <a:pt x="0" y="1172"/>
                      <a:pt x="4" y="1179"/>
                    </a:cubicBezTo>
                    <a:cubicBezTo>
                      <a:pt x="8" y="1185"/>
                      <a:pt x="14" y="1183"/>
                      <a:pt x="19" y="1186"/>
                    </a:cubicBezTo>
                    <a:cubicBezTo>
                      <a:pt x="22" y="1188"/>
                      <a:pt x="15" y="1195"/>
                      <a:pt x="14" y="1198"/>
                    </a:cubicBezTo>
                    <a:cubicBezTo>
                      <a:pt x="13" y="1204"/>
                      <a:pt x="14" y="1210"/>
                      <a:pt x="15" y="1215"/>
                    </a:cubicBezTo>
                    <a:cubicBezTo>
                      <a:pt x="16" y="1220"/>
                      <a:pt x="12" y="1220"/>
                      <a:pt x="12" y="1223"/>
                    </a:cubicBezTo>
                    <a:cubicBezTo>
                      <a:pt x="13" y="1227"/>
                      <a:pt x="16" y="1229"/>
                      <a:pt x="16" y="1233"/>
                    </a:cubicBezTo>
                    <a:cubicBezTo>
                      <a:pt x="17" y="1245"/>
                      <a:pt x="16" y="1256"/>
                      <a:pt x="14" y="1267"/>
                    </a:cubicBezTo>
                    <a:cubicBezTo>
                      <a:pt x="13" y="1275"/>
                      <a:pt x="20" y="1284"/>
                      <a:pt x="22" y="1291"/>
                    </a:cubicBezTo>
                    <a:cubicBezTo>
                      <a:pt x="26" y="1302"/>
                      <a:pt x="29" y="1313"/>
                      <a:pt x="34" y="1324"/>
                    </a:cubicBezTo>
                    <a:cubicBezTo>
                      <a:pt x="41" y="1343"/>
                      <a:pt x="57" y="1349"/>
                      <a:pt x="76" y="1355"/>
                    </a:cubicBezTo>
                    <a:cubicBezTo>
                      <a:pt x="80" y="1356"/>
                      <a:pt x="88" y="1359"/>
                      <a:pt x="92" y="1358"/>
                    </a:cubicBezTo>
                    <a:cubicBezTo>
                      <a:pt x="96" y="1357"/>
                      <a:pt x="98" y="1357"/>
                      <a:pt x="102" y="1358"/>
                    </a:cubicBezTo>
                    <a:cubicBezTo>
                      <a:pt x="109" y="1359"/>
                      <a:pt x="107" y="1373"/>
                      <a:pt x="108" y="1379"/>
                    </a:cubicBezTo>
                    <a:cubicBezTo>
                      <a:pt x="111" y="1404"/>
                      <a:pt x="115" y="1429"/>
                      <a:pt x="120" y="1453"/>
                    </a:cubicBezTo>
                    <a:cubicBezTo>
                      <a:pt x="124" y="1473"/>
                      <a:pt x="131" y="1492"/>
                      <a:pt x="135" y="1512"/>
                    </a:cubicBezTo>
                    <a:cubicBezTo>
                      <a:pt x="138" y="1532"/>
                      <a:pt x="139" y="1553"/>
                      <a:pt x="140" y="1573"/>
                    </a:cubicBezTo>
                    <a:cubicBezTo>
                      <a:pt x="143" y="1647"/>
                      <a:pt x="140" y="1720"/>
                      <a:pt x="145" y="1793"/>
                    </a:cubicBezTo>
                    <a:cubicBezTo>
                      <a:pt x="150" y="1860"/>
                      <a:pt x="153" y="1926"/>
                      <a:pt x="157" y="1992"/>
                    </a:cubicBezTo>
                    <a:cubicBezTo>
                      <a:pt x="158" y="2011"/>
                      <a:pt x="159" y="2029"/>
                      <a:pt x="159" y="2048"/>
                    </a:cubicBezTo>
                    <a:cubicBezTo>
                      <a:pt x="159" y="2053"/>
                      <a:pt x="160" y="2057"/>
                      <a:pt x="160" y="2062"/>
                    </a:cubicBezTo>
                    <a:cubicBezTo>
                      <a:pt x="160" y="2077"/>
                      <a:pt x="164" y="2090"/>
                      <a:pt x="167" y="2105"/>
                    </a:cubicBezTo>
                    <a:cubicBezTo>
                      <a:pt x="170" y="2114"/>
                      <a:pt x="165" y="2124"/>
                      <a:pt x="169" y="2133"/>
                    </a:cubicBezTo>
                    <a:cubicBezTo>
                      <a:pt x="171" y="2138"/>
                      <a:pt x="173" y="2140"/>
                      <a:pt x="173" y="2144"/>
                    </a:cubicBezTo>
                    <a:cubicBezTo>
                      <a:pt x="175" y="2162"/>
                      <a:pt x="176" y="2179"/>
                      <a:pt x="179" y="2196"/>
                    </a:cubicBezTo>
                    <a:cubicBezTo>
                      <a:pt x="180" y="2202"/>
                      <a:pt x="180" y="2210"/>
                      <a:pt x="184" y="2216"/>
                    </a:cubicBezTo>
                    <a:cubicBezTo>
                      <a:pt x="187" y="2221"/>
                      <a:pt x="192" y="2216"/>
                      <a:pt x="196" y="2217"/>
                    </a:cubicBezTo>
                    <a:cubicBezTo>
                      <a:pt x="205" y="2218"/>
                      <a:pt x="183" y="2238"/>
                      <a:pt x="183" y="2239"/>
                    </a:cubicBezTo>
                    <a:cubicBezTo>
                      <a:pt x="172" y="2249"/>
                      <a:pt x="165" y="2261"/>
                      <a:pt x="151" y="2268"/>
                    </a:cubicBezTo>
                    <a:cubicBezTo>
                      <a:pt x="142" y="2273"/>
                      <a:pt x="128" y="2275"/>
                      <a:pt x="124" y="2287"/>
                    </a:cubicBezTo>
                    <a:cubicBezTo>
                      <a:pt x="123" y="2291"/>
                      <a:pt x="125" y="2298"/>
                      <a:pt x="120" y="2301"/>
                    </a:cubicBezTo>
                    <a:cubicBezTo>
                      <a:pt x="117" y="2303"/>
                      <a:pt x="111" y="2303"/>
                      <a:pt x="111" y="2308"/>
                    </a:cubicBezTo>
                    <a:cubicBezTo>
                      <a:pt x="112" y="2315"/>
                      <a:pt x="117" y="2315"/>
                      <a:pt x="122" y="2316"/>
                    </a:cubicBezTo>
                    <a:cubicBezTo>
                      <a:pt x="128" y="2316"/>
                      <a:pt x="133" y="2318"/>
                      <a:pt x="138" y="2320"/>
                    </a:cubicBezTo>
                    <a:cubicBezTo>
                      <a:pt x="157" y="2323"/>
                      <a:pt x="177" y="2323"/>
                      <a:pt x="197" y="2323"/>
                    </a:cubicBezTo>
                    <a:cubicBezTo>
                      <a:pt x="215" y="2323"/>
                      <a:pt x="233" y="2322"/>
                      <a:pt x="251" y="2320"/>
                    </a:cubicBezTo>
                    <a:cubicBezTo>
                      <a:pt x="260" y="2320"/>
                      <a:pt x="271" y="2320"/>
                      <a:pt x="273" y="2309"/>
                    </a:cubicBezTo>
                    <a:cubicBezTo>
                      <a:pt x="275" y="2299"/>
                      <a:pt x="277" y="2294"/>
                      <a:pt x="287" y="2298"/>
                    </a:cubicBezTo>
                    <a:cubicBezTo>
                      <a:pt x="298" y="2302"/>
                      <a:pt x="305" y="2301"/>
                      <a:pt x="316" y="2298"/>
                    </a:cubicBezTo>
                    <a:cubicBezTo>
                      <a:pt x="323" y="2295"/>
                      <a:pt x="344" y="2293"/>
                      <a:pt x="343" y="2282"/>
                    </a:cubicBezTo>
                    <a:cubicBezTo>
                      <a:pt x="342" y="2275"/>
                      <a:pt x="342" y="2268"/>
                      <a:pt x="342" y="2262"/>
                    </a:cubicBezTo>
                    <a:cubicBezTo>
                      <a:pt x="342" y="2257"/>
                      <a:pt x="343" y="2250"/>
                      <a:pt x="341" y="2246"/>
                    </a:cubicBezTo>
                    <a:cubicBezTo>
                      <a:pt x="339" y="2243"/>
                      <a:pt x="335" y="2244"/>
                      <a:pt x="334" y="2243"/>
                    </a:cubicBezTo>
                    <a:cubicBezTo>
                      <a:pt x="332" y="2239"/>
                      <a:pt x="334" y="2230"/>
                      <a:pt x="334" y="2225"/>
                    </a:cubicBezTo>
                    <a:cubicBezTo>
                      <a:pt x="334" y="2221"/>
                      <a:pt x="334" y="2215"/>
                      <a:pt x="332" y="2211"/>
                    </a:cubicBezTo>
                    <a:cubicBezTo>
                      <a:pt x="330" y="2207"/>
                      <a:pt x="333" y="2204"/>
                      <a:pt x="335" y="2199"/>
                    </a:cubicBezTo>
                    <a:cubicBezTo>
                      <a:pt x="337" y="2194"/>
                      <a:pt x="335" y="2188"/>
                      <a:pt x="334" y="2183"/>
                    </a:cubicBezTo>
                    <a:cubicBezTo>
                      <a:pt x="333" y="2175"/>
                      <a:pt x="334" y="2167"/>
                      <a:pt x="333" y="2159"/>
                    </a:cubicBezTo>
                    <a:cubicBezTo>
                      <a:pt x="332" y="2142"/>
                      <a:pt x="331" y="2124"/>
                      <a:pt x="330" y="2106"/>
                    </a:cubicBezTo>
                    <a:cubicBezTo>
                      <a:pt x="328" y="2086"/>
                      <a:pt x="326" y="2067"/>
                      <a:pt x="324" y="2047"/>
                    </a:cubicBezTo>
                    <a:cubicBezTo>
                      <a:pt x="321" y="2027"/>
                      <a:pt x="323" y="2006"/>
                      <a:pt x="323" y="1985"/>
                    </a:cubicBezTo>
                    <a:cubicBezTo>
                      <a:pt x="322" y="1966"/>
                      <a:pt x="321" y="1947"/>
                      <a:pt x="319" y="1928"/>
                    </a:cubicBezTo>
                    <a:cubicBezTo>
                      <a:pt x="317" y="1902"/>
                      <a:pt x="318" y="1877"/>
                      <a:pt x="316" y="1852"/>
                    </a:cubicBezTo>
                    <a:cubicBezTo>
                      <a:pt x="313" y="1824"/>
                      <a:pt x="309" y="1796"/>
                      <a:pt x="298" y="1770"/>
                    </a:cubicBezTo>
                    <a:cubicBezTo>
                      <a:pt x="294" y="1759"/>
                      <a:pt x="290" y="1752"/>
                      <a:pt x="289" y="1740"/>
                    </a:cubicBezTo>
                    <a:cubicBezTo>
                      <a:pt x="288" y="1729"/>
                      <a:pt x="290" y="1718"/>
                      <a:pt x="289" y="1706"/>
                    </a:cubicBezTo>
                    <a:cubicBezTo>
                      <a:pt x="287" y="1683"/>
                      <a:pt x="283" y="1661"/>
                      <a:pt x="286" y="1638"/>
                    </a:cubicBezTo>
                    <a:cubicBezTo>
                      <a:pt x="289" y="1609"/>
                      <a:pt x="292" y="1580"/>
                      <a:pt x="296" y="1552"/>
                    </a:cubicBezTo>
                    <a:cubicBezTo>
                      <a:pt x="302" y="1520"/>
                      <a:pt x="305" y="1488"/>
                      <a:pt x="309" y="1456"/>
                    </a:cubicBezTo>
                    <a:cubicBezTo>
                      <a:pt x="312" y="1435"/>
                      <a:pt x="315" y="1415"/>
                      <a:pt x="319" y="1394"/>
                    </a:cubicBezTo>
                    <a:cubicBezTo>
                      <a:pt x="320" y="1384"/>
                      <a:pt x="318" y="1375"/>
                      <a:pt x="319" y="1365"/>
                    </a:cubicBezTo>
                    <a:cubicBezTo>
                      <a:pt x="320" y="1355"/>
                      <a:pt x="323" y="1345"/>
                      <a:pt x="322" y="1335"/>
                    </a:cubicBezTo>
                    <a:cubicBezTo>
                      <a:pt x="322" y="1326"/>
                      <a:pt x="322" y="1318"/>
                      <a:pt x="325" y="1309"/>
                    </a:cubicBezTo>
                    <a:cubicBezTo>
                      <a:pt x="327" y="1304"/>
                      <a:pt x="329" y="1292"/>
                      <a:pt x="332" y="1289"/>
                    </a:cubicBezTo>
                    <a:cubicBezTo>
                      <a:pt x="332" y="1290"/>
                      <a:pt x="336" y="1293"/>
                      <a:pt x="337" y="1293"/>
                    </a:cubicBezTo>
                    <a:cubicBezTo>
                      <a:pt x="341" y="1295"/>
                      <a:pt x="343" y="1295"/>
                      <a:pt x="344" y="1300"/>
                    </a:cubicBezTo>
                    <a:cubicBezTo>
                      <a:pt x="347" y="1311"/>
                      <a:pt x="349" y="1323"/>
                      <a:pt x="352" y="1334"/>
                    </a:cubicBezTo>
                    <a:cubicBezTo>
                      <a:pt x="357" y="1354"/>
                      <a:pt x="359" y="1375"/>
                      <a:pt x="361" y="1396"/>
                    </a:cubicBezTo>
                    <a:cubicBezTo>
                      <a:pt x="365" y="1433"/>
                      <a:pt x="372" y="1470"/>
                      <a:pt x="376" y="1507"/>
                    </a:cubicBezTo>
                    <a:cubicBezTo>
                      <a:pt x="378" y="1526"/>
                      <a:pt x="381" y="1544"/>
                      <a:pt x="384" y="1561"/>
                    </a:cubicBezTo>
                    <a:cubicBezTo>
                      <a:pt x="388" y="1578"/>
                      <a:pt x="390" y="1597"/>
                      <a:pt x="396" y="1613"/>
                    </a:cubicBezTo>
                    <a:cubicBezTo>
                      <a:pt x="404" y="1633"/>
                      <a:pt x="411" y="1652"/>
                      <a:pt x="415" y="1674"/>
                    </a:cubicBezTo>
                    <a:cubicBezTo>
                      <a:pt x="418" y="1695"/>
                      <a:pt x="422" y="1715"/>
                      <a:pt x="424" y="1736"/>
                    </a:cubicBezTo>
                    <a:cubicBezTo>
                      <a:pt x="429" y="1768"/>
                      <a:pt x="430" y="1800"/>
                      <a:pt x="433" y="1832"/>
                    </a:cubicBezTo>
                    <a:cubicBezTo>
                      <a:pt x="436" y="1867"/>
                      <a:pt x="440" y="1901"/>
                      <a:pt x="443" y="1936"/>
                    </a:cubicBezTo>
                    <a:cubicBezTo>
                      <a:pt x="447" y="1970"/>
                      <a:pt x="451" y="2004"/>
                      <a:pt x="455" y="2039"/>
                    </a:cubicBezTo>
                    <a:cubicBezTo>
                      <a:pt x="458" y="2067"/>
                      <a:pt x="457" y="2096"/>
                      <a:pt x="459" y="2124"/>
                    </a:cubicBezTo>
                    <a:cubicBezTo>
                      <a:pt x="460" y="2144"/>
                      <a:pt x="468" y="2163"/>
                      <a:pt x="471" y="2183"/>
                    </a:cubicBezTo>
                    <a:cubicBezTo>
                      <a:pt x="472" y="2192"/>
                      <a:pt x="471" y="2201"/>
                      <a:pt x="472" y="2210"/>
                    </a:cubicBezTo>
                    <a:cubicBezTo>
                      <a:pt x="472" y="2218"/>
                      <a:pt x="479" y="2223"/>
                      <a:pt x="478" y="2230"/>
                    </a:cubicBezTo>
                    <a:cubicBezTo>
                      <a:pt x="477" y="2234"/>
                      <a:pt x="478" y="2238"/>
                      <a:pt x="477" y="2243"/>
                    </a:cubicBezTo>
                    <a:cubicBezTo>
                      <a:pt x="477" y="2246"/>
                      <a:pt x="473" y="2245"/>
                      <a:pt x="471" y="2246"/>
                    </a:cubicBezTo>
                    <a:cubicBezTo>
                      <a:pt x="469" y="2248"/>
                      <a:pt x="469" y="2256"/>
                      <a:pt x="469" y="2259"/>
                    </a:cubicBezTo>
                    <a:cubicBezTo>
                      <a:pt x="468" y="2266"/>
                      <a:pt x="468" y="2274"/>
                      <a:pt x="468" y="2282"/>
                    </a:cubicBezTo>
                    <a:cubicBezTo>
                      <a:pt x="467" y="2289"/>
                      <a:pt x="468" y="2295"/>
                      <a:pt x="476" y="2298"/>
                    </a:cubicBezTo>
                    <a:cubicBezTo>
                      <a:pt x="480" y="2300"/>
                      <a:pt x="484" y="2303"/>
                      <a:pt x="489" y="2304"/>
                    </a:cubicBezTo>
                    <a:cubicBezTo>
                      <a:pt x="491" y="2305"/>
                      <a:pt x="497" y="2301"/>
                      <a:pt x="498" y="2302"/>
                    </a:cubicBezTo>
                    <a:cubicBezTo>
                      <a:pt x="501" y="2305"/>
                      <a:pt x="488" y="2317"/>
                      <a:pt x="497" y="2323"/>
                    </a:cubicBezTo>
                    <a:cubicBezTo>
                      <a:pt x="505" y="2329"/>
                      <a:pt x="519" y="2329"/>
                      <a:pt x="529" y="2330"/>
                    </a:cubicBezTo>
                    <a:cubicBezTo>
                      <a:pt x="550" y="2334"/>
                      <a:pt x="572" y="2335"/>
                      <a:pt x="594" y="2334"/>
                    </a:cubicBezTo>
                    <a:cubicBezTo>
                      <a:pt x="607" y="2333"/>
                      <a:pt x="620" y="2331"/>
                      <a:pt x="634" y="2331"/>
                    </a:cubicBezTo>
                    <a:cubicBezTo>
                      <a:pt x="645" y="2331"/>
                      <a:pt x="640" y="2319"/>
                      <a:pt x="634" y="2314"/>
                    </a:cubicBezTo>
                    <a:cubicBezTo>
                      <a:pt x="631" y="2312"/>
                      <a:pt x="630" y="2313"/>
                      <a:pt x="630" y="2309"/>
                    </a:cubicBezTo>
                    <a:cubicBezTo>
                      <a:pt x="630" y="2304"/>
                      <a:pt x="630" y="2298"/>
                      <a:pt x="629" y="2293"/>
                    </a:cubicBezTo>
                    <a:cubicBezTo>
                      <a:pt x="625" y="2283"/>
                      <a:pt x="615" y="2275"/>
                      <a:pt x="611" y="2265"/>
                    </a:cubicBezTo>
                    <a:cubicBezTo>
                      <a:pt x="606" y="2255"/>
                      <a:pt x="597" y="2249"/>
                      <a:pt x="594" y="2238"/>
                    </a:cubicBezTo>
                    <a:cubicBezTo>
                      <a:pt x="590" y="2228"/>
                      <a:pt x="591" y="2228"/>
                      <a:pt x="597" y="2219"/>
                    </a:cubicBezTo>
                    <a:cubicBezTo>
                      <a:pt x="604" y="2208"/>
                      <a:pt x="600" y="2196"/>
                      <a:pt x="598" y="2184"/>
                    </a:cubicBezTo>
                    <a:cubicBezTo>
                      <a:pt x="596" y="2174"/>
                      <a:pt x="595" y="2163"/>
                      <a:pt x="594" y="2152"/>
                    </a:cubicBezTo>
                    <a:cubicBezTo>
                      <a:pt x="592" y="2132"/>
                      <a:pt x="584" y="2106"/>
                      <a:pt x="593" y="2087"/>
                    </a:cubicBezTo>
                    <a:cubicBezTo>
                      <a:pt x="599" y="2074"/>
                      <a:pt x="597" y="2057"/>
                      <a:pt x="598" y="2043"/>
                    </a:cubicBezTo>
                    <a:cubicBezTo>
                      <a:pt x="598" y="2006"/>
                      <a:pt x="597" y="1969"/>
                      <a:pt x="596" y="1932"/>
                    </a:cubicBezTo>
                    <a:cubicBezTo>
                      <a:pt x="596" y="1891"/>
                      <a:pt x="595" y="1851"/>
                      <a:pt x="591" y="1810"/>
                    </a:cubicBezTo>
                    <a:cubicBezTo>
                      <a:pt x="590" y="1792"/>
                      <a:pt x="587" y="1773"/>
                      <a:pt x="586" y="1754"/>
                    </a:cubicBezTo>
                    <a:cubicBezTo>
                      <a:pt x="584" y="1732"/>
                      <a:pt x="585" y="1711"/>
                      <a:pt x="582" y="1689"/>
                    </a:cubicBezTo>
                    <a:cubicBezTo>
                      <a:pt x="579" y="1666"/>
                      <a:pt x="583" y="1642"/>
                      <a:pt x="584" y="1619"/>
                    </a:cubicBezTo>
                    <a:cubicBezTo>
                      <a:pt x="584" y="1586"/>
                      <a:pt x="589" y="1553"/>
                      <a:pt x="592" y="1520"/>
                    </a:cubicBezTo>
                    <a:cubicBezTo>
                      <a:pt x="596" y="1465"/>
                      <a:pt x="584" y="1412"/>
                      <a:pt x="584" y="1357"/>
                    </a:cubicBezTo>
                    <a:cubicBezTo>
                      <a:pt x="584" y="1352"/>
                      <a:pt x="583" y="1341"/>
                      <a:pt x="588" y="1338"/>
                    </a:cubicBezTo>
                    <a:cubicBezTo>
                      <a:pt x="592" y="1336"/>
                      <a:pt x="597" y="1335"/>
                      <a:pt x="601" y="1332"/>
                    </a:cubicBezTo>
                    <a:cubicBezTo>
                      <a:pt x="607" y="1329"/>
                      <a:pt x="615" y="1328"/>
                      <a:pt x="619" y="1324"/>
                    </a:cubicBezTo>
                    <a:cubicBezTo>
                      <a:pt x="622" y="1321"/>
                      <a:pt x="624" y="1319"/>
                      <a:pt x="629" y="1319"/>
                    </a:cubicBezTo>
                    <a:cubicBezTo>
                      <a:pt x="635" y="1318"/>
                      <a:pt x="636" y="1314"/>
                      <a:pt x="637" y="1309"/>
                    </a:cubicBezTo>
                    <a:cubicBezTo>
                      <a:pt x="639" y="1305"/>
                      <a:pt x="641" y="1304"/>
                      <a:pt x="645" y="1302"/>
                    </a:cubicBezTo>
                    <a:cubicBezTo>
                      <a:pt x="651" y="1300"/>
                      <a:pt x="652" y="1293"/>
                      <a:pt x="654" y="1288"/>
                    </a:cubicBezTo>
                    <a:cubicBezTo>
                      <a:pt x="656" y="1278"/>
                      <a:pt x="657" y="1268"/>
                      <a:pt x="660" y="1258"/>
                    </a:cubicBezTo>
                    <a:cubicBezTo>
                      <a:pt x="663" y="1247"/>
                      <a:pt x="661" y="1232"/>
                      <a:pt x="661" y="1220"/>
                    </a:cubicBezTo>
                    <a:cubicBezTo>
                      <a:pt x="661" y="1218"/>
                      <a:pt x="659" y="1207"/>
                      <a:pt x="661" y="1207"/>
                    </a:cubicBezTo>
                    <a:cubicBezTo>
                      <a:pt x="663" y="1207"/>
                      <a:pt x="666" y="1205"/>
                      <a:pt x="665" y="1203"/>
                    </a:cubicBezTo>
                    <a:cubicBezTo>
                      <a:pt x="665" y="1200"/>
                      <a:pt x="663" y="1199"/>
                      <a:pt x="663" y="1196"/>
                    </a:cubicBezTo>
                    <a:cubicBezTo>
                      <a:pt x="664" y="1189"/>
                      <a:pt x="667" y="1185"/>
                      <a:pt x="667" y="1178"/>
                    </a:cubicBezTo>
                    <a:cubicBezTo>
                      <a:pt x="666" y="1173"/>
                      <a:pt x="666" y="1167"/>
                      <a:pt x="663" y="1164"/>
                    </a:cubicBezTo>
                    <a:cubicBezTo>
                      <a:pt x="659" y="1158"/>
                      <a:pt x="664" y="1160"/>
                      <a:pt x="667" y="1156"/>
                    </a:cubicBezTo>
                    <a:cubicBezTo>
                      <a:pt x="671" y="1150"/>
                      <a:pt x="670" y="1138"/>
                      <a:pt x="668" y="1131"/>
                    </a:cubicBezTo>
                    <a:cubicBezTo>
                      <a:pt x="667" y="1127"/>
                      <a:pt x="665" y="1127"/>
                      <a:pt x="663" y="1123"/>
                    </a:cubicBezTo>
                    <a:cubicBezTo>
                      <a:pt x="661" y="1119"/>
                      <a:pt x="667" y="1112"/>
                      <a:pt x="669" y="1109"/>
                    </a:cubicBezTo>
                    <a:cubicBezTo>
                      <a:pt x="671" y="1103"/>
                      <a:pt x="673" y="1096"/>
                      <a:pt x="671" y="1089"/>
                    </a:cubicBezTo>
                    <a:cubicBezTo>
                      <a:pt x="670" y="1082"/>
                      <a:pt x="664" y="1076"/>
                      <a:pt x="667" y="1068"/>
                    </a:cubicBezTo>
                    <a:cubicBezTo>
                      <a:pt x="670" y="1062"/>
                      <a:pt x="674" y="1058"/>
                      <a:pt x="675" y="1052"/>
                    </a:cubicBezTo>
                    <a:cubicBezTo>
                      <a:pt x="676" y="1046"/>
                      <a:pt x="676" y="1041"/>
                      <a:pt x="676" y="1035"/>
                    </a:cubicBezTo>
                    <a:cubicBezTo>
                      <a:pt x="676" y="1022"/>
                      <a:pt x="680" y="1011"/>
                      <a:pt x="676" y="998"/>
                    </a:cubicBezTo>
                    <a:moveTo>
                      <a:pt x="95" y="1318"/>
                    </a:moveTo>
                    <a:cubicBezTo>
                      <a:pt x="91" y="1319"/>
                      <a:pt x="87" y="1323"/>
                      <a:pt x="86" y="1318"/>
                    </a:cubicBezTo>
                    <a:cubicBezTo>
                      <a:pt x="85" y="1310"/>
                      <a:pt x="85" y="1301"/>
                      <a:pt x="82" y="1294"/>
                    </a:cubicBezTo>
                    <a:cubicBezTo>
                      <a:pt x="80" y="1292"/>
                      <a:pt x="82" y="1291"/>
                      <a:pt x="83" y="1290"/>
                    </a:cubicBezTo>
                    <a:cubicBezTo>
                      <a:pt x="84" y="1286"/>
                      <a:pt x="81" y="1281"/>
                      <a:pt x="81" y="1278"/>
                    </a:cubicBezTo>
                    <a:cubicBezTo>
                      <a:pt x="80" y="1272"/>
                      <a:pt x="79" y="1266"/>
                      <a:pt x="86" y="1265"/>
                    </a:cubicBezTo>
                    <a:cubicBezTo>
                      <a:pt x="87" y="1265"/>
                      <a:pt x="94" y="1260"/>
                      <a:pt x="95" y="1262"/>
                    </a:cubicBezTo>
                    <a:cubicBezTo>
                      <a:pt x="98" y="1267"/>
                      <a:pt x="96" y="1278"/>
                      <a:pt x="96" y="1283"/>
                    </a:cubicBezTo>
                    <a:cubicBezTo>
                      <a:pt x="97" y="1291"/>
                      <a:pt x="97" y="1299"/>
                      <a:pt x="98" y="1307"/>
                    </a:cubicBezTo>
                    <a:cubicBezTo>
                      <a:pt x="99" y="1313"/>
                      <a:pt x="102" y="1316"/>
                      <a:pt x="95" y="1318"/>
                    </a:cubicBezTo>
                    <a:moveTo>
                      <a:pt x="146" y="764"/>
                    </a:moveTo>
                    <a:cubicBezTo>
                      <a:pt x="146" y="772"/>
                      <a:pt x="143" y="781"/>
                      <a:pt x="142" y="790"/>
                    </a:cubicBezTo>
                    <a:cubicBezTo>
                      <a:pt x="141" y="800"/>
                      <a:pt x="143" y="810"/>
                      <a:pt x="145" y="821"/>
                    </a:cubicBezTo>
                    <a:cubicBezTo>
                      <a:pt x="146" y="828"/>
                      <a:pt x="147" y="836"/>
                      <a:pt x="145" y="844"/>
                    </a:cubicBezTo>
                    <a:cubicBezTo>
                      <a:pt x="144" y="853"/>
                      <a:pt x="140" y="862"/>
                      <a:pt x="139" y="872"/>
                    </a:cubicBezTo>
                    <a:cubicBezTo>
                      <a:pt x="139" y="882"/>
                      <a:pt x="139" y="893"/>
                      <a:pt x="138" y="904"/>
                    </a:cubicBezTo>
                    <a:cubicBezTo>
                      <a:pt x="137" y="913"/>
                      <a:pt x="134" y="922"/>
                      <a:pt x="135" y="931"/>
                    </a:cubicBezTo>
                    <a:cubicBezTo>
                      <a:pt x="135" y="940"/>
                      <a:pt x="142" y="948"/>
                      <a:pt x="139" y="958"/>
                    </a:cubicBezTo>
                    <a:cubicBezTo>
                      <a:pt x="137" y="969"/>
                      <a:pt x="131" y="980"/>
                      <a:pt x="128" y="991"/>
                    </a:cubicBezTo>
                    <a:cubicBezTo>
                      <a:pt x="125" y="999"/>
                      <a:pt x="123" y="1007"/>
                      <a:pt x="122" y="1016"/>
                    </a:cubicBezTo>
                    <a:cubicBezTo>
                      <a:pt x="120" y="1023"/>
                      <a:pt x="116" y="1029"/>
                      <a:pt x="114" y="1036"/>
                    </a:cubicBezTo>
                    <a:cubicBezTo>
                      <a:pt x="110" y="1050"/>
                      <a:pt x="108" y="1065"/>
                      <a:pt x="106" y="1080"/>
                    </a:cubicBezTo>
                    <a:cubicBezTo>
                      <a:pt x="104" y="1087"/>
                      <a:pt x="96" y="1090"/>
                      <a:pt x="104" y="1095"/>
                    </a:cubicBezTo>
                    <a:cubicBezTo>
                      <a:pt x="108" y="1099"/>
                      <a:pt x="104" y="1113"/>
                      <a:pt x="103" y="1118"/>
                    </a:cubicBezTo>
                    <a:cubicBezTo>
                      <a:pt x="103" y="1120"/>
                      <a:pt x="101" y="1141"/>
                      <a:pt x="99" y="1142"/>
                    </a:cubicBezTo>
                    <a:cubicBezTo>
                      <a:pt x="96" y="1142"/>
                      <a:pt x="91" y="1128"/>
                      <a:pt x="91" y="1125"/>
                    </a:cubicBezTo>
                    <a:cubicBezTo>
                      <a:pt x="91" y="1119"/>
                      <a:pt x="92" y="1114"/>
                      <a:pt x="93" y="1108"/>
                    </a:cubicBezTo>
                    <a:cubicBezTo>
                      <a:pt x="93" y="1104"/>
                      <a:pt x="91" y="1099"/>
                      <a:pt x="92" y="1095"/>
                    </a:cubicBezTo>
                    <a:cubicBezTo>
                      <a:pt x="98" y="1080"/>
                      <a:pt x="100" y="1065"/>
                      <a:pt x="104" y="1050"/>
                    </a:cubicBezTo>
                    <a:cubicBezTo>
                      <a:pt x="106" y="1042"/>
                      <a:pt x="108" y="1034"/>
                      <a:pt x="110" y="1026"/>
                    </a:cubicBezTo>
                    <a:cubicBezTo>
                      <a:pt x="112" y="1018"/>
                      <a:pt x="118" y="1008"/>
                      <a:pt x="117" y="1000"/>
                    </a:cubicBezTo>
                    <a:cubicBezTo>
                      <a:pt x="117" y="994"/>
                      <a:pt x="115" y="988"/>
                      <a:pt x="117" y="982"/>
                    </a:cubicBezTo>
                    <a:cubicBezTo>
                      <a:pt x="118" y="977"/>
                      <a:pt x="120" y="973"/>
                      <a:pt x="121" y="969"/>
                    </a:cubicBezTo>
                    <a:cubicBezTo>
                      <a:pt x="123" y="958"/>
                      <a:pt x="122" y="947"/>
                      <a:pt x="124" y="936"/>
                    </a:cubicBezTo>
                    <a:cubicBezTo>
                      <a:pt x="126" y="924"/>
                      <a:pt x="130" y="918"/>
                      <a:pt x="126" y="906"/>
                    </a:cubicBezTo>
                    <a:cubicBezTo>
                      <a:pt x="124" y="897"/>
                      <a:pt x="129" y="888"/>
                      <a:pt x="132" y="879"/>
                    </a:cubicBezTo>
                    <a:cubicBezTo>
                      <a:pt x="135" y="868"/>
                      <a:pt x="133" y="860"/>
                      <a:pt x="133" y="849"/>
                    </a:cubicBezTo>
                    <a:cubicBezTo>
                      <a:pt x="132" y="842"/>
                      <a:pt x="129" y="832"/>
                      <a:pt x="131" y="825"/>
                    </a:cubicBezTo>
                    <a:cubicBezTo>
                      <a:pt x="137" y="805"/>
                      <a:pt x="133" y="784"/>
                      <a:pt x="137" y="764"/>
                    </a:cubicBezTo>
                    <a:cubicBezTo>
                      <a:pt x="140" y="753"/>
                      <a:pt x="142" y="743"/>
                      <a:pt x="144" y="733"/>
                    </a:cubicBezTo>
                    <a:cubicBezTo>
                      <a:pt x="144" y="731"/>
                      <a:pt x="145" y="722"/>
                      <a:pt x="147" y="720"/>
                    </a:cubicBezTo>
                    <a:cubicBezTo>
                      <a:pt x="147" y="721"/>
                      <a:pt x="147" y="731"/>
                      <a:pt x="147" y="732"/>
                    </a:cubicBezTo>
                    <a:cubicBezTo>
                      <a:pt x="147" y="736"/>
                      <a:pt x="148" y="738"/>
                      <a:pt x="148" y="742"/>
                    </a:cubicBezTo>
                    <a:cubicBezTo>
                      <a:pt x="150" y="749"/>
                      <a:pt x="147" y="756"/>
                      <a:pt x="146" y="764"/>
                    </a:cubicBezTo>
                    <a:moveTo>
                      <a:pt x="565" y="1169"/>
                    </a:moveTo>
                    <a:cubicBezTo>
                      <a:pt x="567" y="1152"/>
                      <a:pt x="564" y="1133"/>
                      <a:pt x="562" y="1116"/>
                    </a:cubicBezTo>
                    <a:cubicBezTo>
                      <a:pt x="561" y="1109"/>
                      <a:pt x="557" y="1103"/>
                      <a:pt x="563" y="1097"/>
                    </a:cubicBezTo>
                    <a:cubicBezTo>
                      <a:pt x="565" y="1095"/>
                      <a:pt x="571" y="1093"/>
                      <a:pt x="567" y="1088"/>
                    </a:cubicBezTo>
                    <a:cubicBezTo>
                      <a:pt x="564" y="1085"/>
                      <a:pt x="562" y="1087"/>
                      <a:pt x="561" y="1083"/>
                    </a:cubicBezTo>
                    <a:cubicBezTo>
                      <a:pt x="555" y="1062"/>
                      <a:pt x="549" y="1042"/>
                      <a:pt x="546" y="1020"/>
                    </a:cubicBezTo>
                    <a:cubicBezTo>
                      <a:pt x="543" y="994"/>
                      <a:pt x="534" y="969"/>
                      <a:pt x="535" y="943"/>
                    </a:cubicBezTo>
                    <a:cubicBezTo>
                      <a:pt x="535" y="924"/>
                      <a:pt x="533" y="904"/>
                      <a:pt x="533" y="885"/>
                    </a:cubicBezTo>
                    <a:cubicBezTo>
                      <a:pt x="533" y="863"/>
                      <a:pt x="534" y="840"/>
                      <a:pt x="534" y="817"/>
                    </a:cubicBezTo>
                    <a:cubicBezTo>
                      <a:pt x="534" y="797"/>
                      <a:pt x="533" y="778"/>
                      <a:pt x="534" y="758"/>
                    </a:cubicBezTo>
                    <a:cubicBezTo>
                      <a:pt x="534" y="750"/>
                      <a:pt x="534" y="741"/>
                      <a:pt x="535" y="733"/>
                    </a:cubicBezTo>
                    <a:cubicBezTo>
                      <a:pt x="536" y="728"/>
                      <a:pt x="537" y="722"/>
                      <a:pt x="537" y="717"/>
                    </a:cubicBezTo>
                    <a:cubicBezTo>
                      <a:pt x="537" y="715"/>
                      <a:pt x="537" y="710"/>
                      <a:pt x="538" y="709"/>
                    </a:cubicBezTo>
                    <a:cubicBezTo>
                      <a:pt x="537" y="710"/>
                      <a:pt x="545" y="727"/>
                      <a:pt x="546" y="729"/>
                    </a:cubicBezTo>
                    <a:cubicBezTo>
                      <a:pt x="549" y="739"/>
                      <a:pt x="549" y="749"/>
                      <a:pt x="550" y="760"/>
                    </a:cubicBezTo>
                    <a:cubicBezTo>
                      <a:pt x="550" y="769"/>
                      <a:pt x="551" y="778"/>
                      <a:pt x="553" y="787"/>
                    </a:cubicBezTo>
                    <a:cubicBezTo>
                      <a:pt x="555" y="799"/>
                      <a:pt x="553" y="810"/>
                      <a:pt x="555" y="822"/>
                    </a:cubicBezTo>
                    <a:cubicBezTo>
                      <a:pt x="556" y="836"/>
                      <a:pt x="554" y="848"/>
                      <a:pt x="554" y="862"/>
                    </a:cubicBezTo>
                    <a:cubicBezTo>
                      <a:pt x="553" y="874"/>
                      <a:pt x="555" y="887"/>
                      <a:pt x="557" y="899"/>
                    </a:cubicBezTo>
                    <a:cubicBezTo>
                      <a:pt x="558" y="908"/>
                      <a:pt x="559" y="916"/>
                      <a:pt x="562" y="925"/>
                    </a:cubicBezTo>
                    <a:cubicBezTo>
                      <a:pt x="566" y="936"/>
                      <a:pt x="565" y="952"/>
                      <a:pt x="566" y="964"/>
                    </a:cubicBezTo>
                    <a:cubicBezTo>
                      <a:pt x="566" y="978"/>
                      <a:pt x="572" y="989"/>
                      <a:pt x="573" y="1003"/>
                    </a:cubicBezTo>
                    <a:cubicBezTo>
                      <a:pt x="575" y="1015"/>
                      <a:pt x="575" y="1027"/>
                      <a:pt x="577" y="1038"/>
                    </a:cubicBezTo>
                    <a:cubicBezTo>
                      <a:pt x="579" y="1047"/>
                      <a:pt x="577" y="1053"/>
                      <a:pt x="575" y="1062"/>
                    </a:cubicBezTo>
                    <a:cubicBezTo>
                      <a:pt x="574" y="1072"/>
                      <a:pt x="580" y="1081"/>
                      <a:pt x="578" y="1090"/>
                    </a:cubicBezTo>
                    <a:cubicBezTo>
                      <a:pt x="578" y="1097"/>
                      <a:pt x="576" y="1103"/>
                      <a:pt x="576" y="1109"/>
                    </a:cubicBezTo>
                    <a:cubicBezTo>
                      <a:pt x="576" y="1115"/>
                      <a:pt x="578" y="1122"/>
                      <a:pt x="576" y="1127"/>
                    </a:cubicBezTo>
                    <a:cubicBezTo>
                      <a:pt x="574" y="1134"/>
                      <a:pt x="574" y="1136"/>
                      <a:pt x="578" y="1142"/>
                    </a:cubicBezTo>
                    <a:cubicBezTo>
                      <a:pt x="580" y="1144"/>
                      <a:pt x="584" y="1147"/>
                      <a:pt x="583" y="1150"/>
                    </a:cubicBezTo>
                    <a:cubicBezTo>
                      <a:pt x="582" y="1154"/>
                      <a:pt x="580" y="1158"/>
                      <a:pt x="578" y="1161"/>
                    </a:cubicBezTo>
                    <a:cubicBezTo>
                      <a:pt x="577" y="1163"/>
                      <a:pt x="571" y="1167"/>
                      <a:pt x="571" y="1167"/>
                    </a:cubicBezTo>
                    <a:cubicBezTo>
                      <a:pt x="571" y="1171"/>
                      <a:pt x="572" y="1173"/>
                      <a:pt x="568" y="1177"/>
                    </a:cubicBezTo>
                    <a:cubicBezTo>
                      <a:pt x="564" y="1180"/>
                      <a:pt x="565" y="1171"/>
                      <a:pt x="565" y="1169"/>
                    </a:cubicBezTo>
                    <a:moveTo>
                      <a:pt x="584" y="1252"/>
                    </a:moveTo>
                    <a:cubicBezTo>
                      <a:pt x="580" y="1259"/>
                      <a:pt x="583" y="1265"/>
                      <a:pt x="583" y="1271"/>
                    </a:cubicBezTo>
                    <a:cubicBezTo>
                      <a:pt x="583" y="1273"/>
                      <a:pt x="578" y="1289"/>
                      <a:pt x="579" y="1290"/>
                    </a:cubicBezTo>
                    <a:cubicBezTo>
                      <a:pt x="576" y="1288"/>
                      <a:pt x="576" y="1279"/>
                      <a:pt x="575" y="1276"/>
                    </a:cubicBezTo>
                    <a:cubicBezTo>
                      <a:pt x="574" y="1271"/>
                      <a:pt x="572" y="1266"/>
                      <a:pt x="572" y="1261"/>
                    </a:cubicBezTo>
                    <a:cubicBezTo>
                      <a:pt x="571" y="1257"/>
                      <a:pt x="569" y="1244"/>
                      <a:pt x="575" y="1242"/>
                    </a:cubicBezTo>
                    <a:cubicBezTo>
                      <a:pt x="577" y="1241"/>
                      <a:pt x="585" y="1249"/>
                      <a:pt x="584" y="1252"/>
                    </a:cubicBezTo>
                  </a:path>
                </a:pathLst>
              </a:custGeom>
              <a:solidFill>
                <a:schemeClr val="tx1"/>
              </a:solidFill>
              <a:ln w="15875" cap="flat">
                <a:noFill/>
                <a:prstDash val="solid"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pPr defTabSz="91437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200" kern="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grpSp>
            <p:nvGrpSpPr>
              <p:cNvPr id="445" name="Gruppieren 281">
                <a:extLst>
                  <a:ext uri="{FF2B5EF4-FFF2-40B4-BE49-F238E27FC236}">
                    <a16:creationId xmlns:a16="http://schemas.microsoft.com/office/drawing/2014/main" id="{0731D4DF-4F27-499C-8253-ADDBD0B8C2ED}"/>
                  </a:ext>
                </a:extLst>
              </p:cNvPr>
              <p:cNvGrpSpPr/>
              <p:nvPr/>
            </p:nvGrpSpPr>
            <p:grpSpPr>
              <a:xfrm>
                <a:off x="2739987" y="3833767"/>
                <a:ext cx="159492" cy="328959"/>
                <a:chOff x="2519371" y="955678"/>
                <a:chExt cx="1695457" cy="4968890"/>
              </a:xfrm>
              <a:solidFill>
                <a:schemeClr val="tx1"/>
              </a:solidFill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grpSpPr>
            <p:sp>
              <p:nvSpPr>
                <p:cNvPr id="446" name="Freeform 156">
                  <a:extLst>
                    <a:ext uri="{FF2B5EF4-FFF2-40B4-BE49-F238E27FC236}">
                      <a16:creationId xmlns:a16="http://schemas.microsoft.com/office/drawing/2014/main" id="{4A529AD8-81B4-43B6-B150-9E81DC78B8B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84626" y="3435360"/>
                  <a:ext cx="269878" cy="404813"/>
                </a:xfrm>
                <a:custGeom>
                  <a:avLst/>
                  <a:gdLst>
                    <a:gd name="T0" fmla="*/ 29 w 72"/>
                    <a:gd name="T1" fmla="*/ 0 h 108"/>
                    <a:gd name="T2" fmla="*/ 37 w 72"/>
                    <a:gd name="T3" fmla="*/ 0 h 108"/>
                    <a:gd name="T4" fmla="*/ 68 w 72"/>
                    <a:gd name="T5" fmla="*/ 6 h 108"/>
                    <a:gd name="T6" fmla="*/ 70 w 72"/>
                    <a:gd name="T7" fmla="*/ 58 h 108"/>
                    <a:gd name="T8" fmla="*/ 60 w 72"/>
                    <a:gd name="T9" fmla="*/ 78 h 108"/>
                    <a:gd name="T10" fmla="*/ 14 w 72"/>
                    <a:gd name="T11" fmla="*/ 108 h 108"/>
                    <a:gd name="T12" fmla="*/ 5 w 72"/>
                    <a:gd name="T13" fmla="*/ 102 h 108"/>
                    <a:gd name="T14" fmla="*/ 13 w 72"/>
                    <a:gd name="T15" fmla="*/ 80 h 108"/>
                    <a:gd name="T16" fmla="*/ 15 w 72"/>
                    <a:gd name="T17" fmla="*/ 6 h 108"/>
                    <a:gd name="T18" fmla="*/ 29 w 72"/>
                    <a:gd name="T19" fmla="*/ 0 h 108"/>
                    <a:gd name="T20" fmla="*/ 28 w 72"/>
                    <a:gd name="T21" fmla="*/ 81 h 108"/>
                    <a:gd name="T22" fmla="*/ 41 w 72"/>
                    <a:gd name="T23" fmla="*/ 53 h 108"/>
                    <a:gd name="T24" fmla="*/ 33 w 72"/>
                    <a:gd name="T25" fmla="*/ 51 h 108"/>
                    <a:gd name="T26" fmla="*/ 28 w 72"/>
                    <a:gd name="T27" fmla="*/ 81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2" h="108">
                      <a:moveTo>
                        <a:pt x="29" y="0"/>
                      </a:moveTo>
                      <a:cubicBezTo>
                        <a:pt x="32" y="0"/>
                        <a:pt x="34" y="0"/>
                        <a:pt x="37" y="0"/>
                      </a:cubicBezTo>
                      <a:cubicBezTo>
                        <a:pt x="45" y="3"/>
                        <a:pt x="60" y="2"/>
                        <a:pt x="68" y="6"/>
                      </a:cubicBezTo>
                      <a:cubicBezTo>
                        <a:pt x="67" y="23"/>
                        <a:pt x="72" y="43"/>
                        <a:pt x="70" y="58"/>
                      </a:cubicBezTo>
                      <a:cubicBezTo>
                        <a:pt x="68" y="65"/>
                        <a:pt x="63" y="72"/>
                        <a:pt x="60" y="78"/>
                      </a:cubicBezTo>
                      <a:cubicBezTo>
                        <a:pt x="49" y="98"/>
                        <a:pt x="39" y="102"/>
                        <a:pt x="14" y="108"/>
                      </a:cubicBezTo>
                      <a:cubicBezTo>
                        <a:pt x="17" y="101"/>
                        <a:pt x="5" y="107"/>
                        <a:pt x="5" y="102"/>
                      </a:cubicBezTo>
                      <a:cubicBezTo>
                        <a:pt x="0" y="90"/>
                        <a:pt x="6" y="87"/>
                        <a:pt x="13" y="80"/>
                      </a:cubicBezTo>
                      <a:cubicBezTo>
                        <a:pt x="15" y="57"/>
                        <a:pt x="13" y="28"/>
                        <a:pt x="15" y="6"/>
                      </a:cubicBezTo>
                      <a:cubicBezTo>
                        <a:pt x="20" y="3"/>
                        <a:pt x="29" y="6"/>
                        <a:pt x="29" y="0"/>
                      </a:cubicBezTo>
                      <a:close/>
                      <a:moveTo>
                        <a:pt x="28" y="81"/>
                      </a:moveTo>
                      <a:cubicBezTo>
                        <a:pt x="41" y="81"/>
                        <a:pt x="43" y="67"/>
                        <a:pt x="41" y="53"/>
                      </a:cubicBezTo>
                      <a:cubicBezTo>
                        <a:pt x="37" y="54"/>
                        <a:pt x="37" y="51"/>
                        <a:pt x="33" y="51"/>
                      </a:cubicBezTo>
                      <a:cubicBezTo>
                        <a:pt x="30" y="61"/>
                        <a:pt x="32" y="75"/>
                        <a:pt x="28" y="8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47" name="Freeform 159">
                  <a:extLst>
                    <a:ext uri="{FF2B5EF4-FFF2-40B4-BE49-F238E27FC236}">
                      <a16:creationId xmlns:a16="http://schemas.microsoft.com/office/drawing/2014/main" id="{BA3D2263-CD83-4EF1-84FB-8550D6BB1B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9775" y="5519755"/>
                  <a:ext cx="539752" cy="404813"/>
                </a:xfrm>
                <a:custGeom>
                  <a:avLst/>
                  <a:gdLst>
                    <a:gd name="T0" fmla="*/ 19 w 144"/>
                    <a:gd name="T1" fmla="*/ 0 h 108"/>
                    <a:gd name="T2" fmla="*/ 21 w 144"/>
                    <a:gd name="T3" fmla="*/ 0 h 108"/>
                    <a:gd name="T4" fmla="*/ 55 w 144"/>
                    <a:gd name="T5" fmla="*/ 19 h 108"/>
                    <a:gd name="T6" fmla="*/ 139 w 144"/>
                    <a:gd name="T7" fmla="*/ 47 h 108"/>
                    <a:gd name="T8" fmla="*/ 144 w 144"/>
                    <a:gd name="T9" fmla="*/ 62 h 108"/>
                    <a:gd name="T10" fmla="*/ 144 w 144"/>
                    <a:gd name="T11" fmla="*/ 66 h 108"/>
                    <a:gd name="T12" fmla="*/ 137 w 144"/>
                    <a:gd name="T13" fmla="*/ 88 h 108"/>
                    <a:gd name="T14" fmla="*/ 105 w 144"/>
                    <a:gd name="T15" fmla="*/ 91 h 108"/>
                    <a:gd name="T16" fmla="*/ 100 w 144"/>
                    <a:gd name="T17" fmla="*/ 103 h 108"/>
                    <a:gd name="T18" fmla="*/ 90 w 144"/>
                    <a:gd name="T19" fmla="*/ 108 h 108"/>
                    <a:gd name="T20" fmla="*/ 82 w 144"/>
                    <a:gd name="T21" fmla="*/ 108 h 108"/>
                    <a:gd name="T22" fmla="*/ 31 w 144"/>
                    <a:gd name="T23" fmla="*/ 100 h 108"/>
                    <a:gd name="T24" fmla="*/ 32 w 144"/>
                    <a:gd name="T25" fmla="*/ 73 h 108"/>
                    <a:gd name="T26" fmla="*/ 0 w 144"/>
                    <a:gd name="T27" fmla="*/ 65 h 108"/>
                    <a:gd name="T28" fmla="*/ 0 w 144"/>
                    <a:gd name="T29" fmla="*/ 51 h 108"/>
                    <a:gd name="T30" fmla="*/ 11 w 144"/>
                    <a:gd name="T31" fmla="*/ 12 h 108"/>
                    <a:gd name="T32" fmla="*/ 19 w 144"/>
                    <a:gd name="T33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44" h="108">
                      <a:moveTo>
                        <a:pt x="19" y="0"/>
                      </a:moveTo>
                      <a:cubicBezTo>
                        <a:pt x="19" y="0"/>
                        <a:pt x="20" y="0"/>
                        <a:pt x="21" y="0"/>
                      </a:cubicBezTo>
                      <a:cubicBezTo>
                        <a:pt x="33" y="7"/>
                        <a:pt x="45" y="13"/>
                        <a:pt x="55" y="19"/>
                      </a:cubicBezTo>
                      <a:cubicBezTo>
                        <a:pt x="92" y="2"/>
                        <a:pt x="120" y="31"/>
                        <a:pt x="139" y="47"/>
                      </a:cubicBezTo>
                      <a:cubicBezTo>
                        <a:pt x="141" y="52"/>
                        <a:pt x="141" y="58"/>
                        <a:pt x="144" y="62"/>
                      </a:cubicBezTo>
                      <a:cubicBezTo>
                        <a:pt x="144" y="63"/>
                        <a:pt x="144" y="65"/>
                        <a:pt x="144" y="66"/>
                      </a:cubicBezTo>
                      <a:cubicBezTo>
                        <a:pt x="142" y="75"/>
                        <a:pt x="141" y="83"/>
                        <a:pt x="137" y="88"/>
                      </a:cubicBezTo>
                      <a:cubicBezTo>
                        <a:pt x="124" y="87"/>
                        <a:pt x="117" y="91"/>
                        <a:pt x="105" y="91"/>
                      </a:cubicBezTo>
                      <a:cubicBezTo>
                        <a:pt x="99" y="91"/>
                        <a:pt x="104" y="101"/>
                        <a:pt x="100" y="103"/>
                      </a:cubicBezTo>
                      <a:cubicBezTo>
                        <a:pt x="96" y="105"/>
                        <a:pt x="91" y="106"/>
                        <a:pt x="90" y="108"/>
                      </a:cubicBezTo>
                      <a:cubicBezTo>
                        <a:pt x="87" y="108"/>
                        <a:pt x="84" y="108"/>
                        <a:pt x="82" y="108"/>
                      </a:cubicBezTo>
                      <a:cubicBezTo>
                        <a:pt x="66" y="105"/>
                        <a:pt x="41" y="108"/>
                        <a:pt x="31" y="100"/>
                      </a:cubicBezTo>
                      <a:cubicBezTo>
                        <a:pt x="27" y="90"/>
                        <a:pt x="33" y="85"/>
                        <a:pt x="32" y="73"/>
                      </a:cubicBezTo>
                      <a:cubicBezTo>
                        <a:pt x="23" y="75"/>
                        <a:pt x="8" y="71"/>
                        <a:pt x="0" y="65"/>
                      </a:cubicBezTo>
                      <a:cubicBezTo>
                        <a:pt x="0" y="61"/>
                        <a:pt x="0" y="56"/>
                        <a:pt x="0" y="51"/>
                      </a:cubicBezTo>
                      <a:cubicBezTo>
                        <a:pt x="6" y="39"/>
                        <a:pt x="14" y="27"/>
                        <a:pt x="11" y="12"/>
                      </a:cubicBezTo>
                      <a:cubicBezTo>
                        <a:pt x="11" y="7"/>
                        <a:pt x="18" y="6"/>
                        <a:pt x="19" y="0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48" name="Freeform 160">
                  <a:extLst>
                    <a:ext uri="{FF2B5EF4-FFF2-40B4-BE49-F238E27FC236}">
                      <a16:creationId xmlns:a16="http://schemas.microsoft.com/office/drawing/2014/main" id="{2593B18C-6ABC-4A20-BC24-897FAB6B27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5286" y="3014673"/>
                  <a:ext cx="1109668" cy="2805120"/>
                </a:xfrm>
                <a:custGeom>
                  <a:avLst/>
                  <a:gdLst>
                    <a:gd name="T0" fmla="*/ 0 w 296"/>
                    <a:gd name="T1" fmla="*/ 188 h 748"/>
                    <a:gd name="T2" fmla="*/ 0 w 296"/>
                    <a:gd name="T3" fmla="*/ 183 h 748"/>
                    <a:gd name="T4" fmla="*/ 12 w 296"/>
                    <a:gd name="T5" fmla="*/ 166 h 748"/>
                    <a:gd name="T6" fmla="*/ 103 w 296"/>
                    <a:gd name="T7" fmla="*/ 169 h 748"/>
                    <a:gd name="T8" fmla="*/ 143 w 296"/>
                    <a:gd name="T9" fmla="*/ 9 h 748"/>
                    <a:gd name="T10" fmla="*/ 191 w 296"/>
                    <a:gd name="T11" fmla="*/ 11 h 748"/>
                    <a:gd name="T12" fmla="*/ 225 w 296"/>
                    <a:gd name="T13" fmla="*/ 112 h 748"/>
                    <a:gd name="T14" fmla="*/ 245 w 296"/>
                    <a:gd name="T15" fmla="*/ 133 h 748"/>
                    <a:gd name="T16" fmla="*/ 268 w 296"/>
                    <a:gd name="T17" fmla="*/ 153 h 748"/>
                    <a:gd name="T18" fmla="*/ 296 w 296"/>
                    <a:gd name="T19" fmla="*/ 153 h 748"/>
                    <a:gd name="T20" fmla="*/ 275 w 296"/>
                    <a:gd name="T21" fmla="*/ 276 h 748"/>
                    <a:gd name="T22" fmla="*/ 268 w 296"/>
                    <a:gd name="T23" fmla="*/ 288 h 748"/>
                    <a:gd name="T24" fmla="*/ 264 w 296"/>
                    <a:gd name="T25" fmla="*/ 303 h 748"/>
                    <a:gd name="T26" fmla="*/ 253 w 296"/>
                    <a:gd name="T27" fmla="*/ 328 h 748"/>
                    <a:gd name="T28" fmla="*/ 256 w 296"/>
                    <a:gd name="T29" fmla="*/ 354 h 748"/>
                    <a:gd name="T30" fmla="*/ 252 w 296"/>
                    <a:gd name="T31" fmla="*/ 418 h 748"/>
                    <a:gd name="T32" fmla="*/ 249 w 296"/>
                    <a:gd name="T33" fmla="*/ 514 h 748"/>
                    <a:gd name="T34" fmla="*/ 237 w 296"/>
                    <a:gd name="T35" fmla="*/ 577 h 748"/>
                    <a:gd name="T36" fmla="*/ 223 w 296"/>
                    <a:gd name="T37" fmla="*/ 604 h 748"/>
                    <a:gd name="T38" fmla="*/ 215 w 296"/>
                    <a:gd name="T39" fmla="*/ 633 h 748"/>
                    <a:gd name="T40" fmla="*/ 207 w 296"/>
                    <a:gd name="T41" fmla="*/ 662 h 748"/>
                    <a:gd name="T42" fmla="*/ 222 w 296"/>
                    <a:gd name="T43" fmla="*/ 707 h 748"/>
                    <a:gd name="T44" fmla="*/ 182 w 296"/>
                    <a:gd name="T45" fmla="*/ 689 h 748"/>
                    <a:gd name="T46" fmla="*/ 122 w 296"/>
                    <a:gd name="T47" fmla="*/ 748 h 748"/>
                    <a:gd name="T48" fmla="*/ 114 w 296"/>
                    <a:gd name="T49" fmla="*/ 677 h 748"/>
                    <a:gd name="T50" fmla="*/ 97 w 296"/>
                    <a:gd name="T51" fmla="*/ 672 h 748"/>
                    <a:gd name="T52" fmla="*/ 97 w 296"/>
                    <a:gd name="T53" fmla="*/ 609 h 748"/>
                    <a:gd name="T54" fmla="*/ 86 w 296"/>
                    <a:gd name="T55" fmla="*/ 588 h 748"/>
                    <a:gd name="T56" fmla="*/ 64 w 296"/>
                    <a:gd name="T57" fmla="*/ 525 h 748"/>
                    <a:gd name="T58" fmla="*/ 35 w 296"/>
                    <a:gd name="T59" fmla="*/ 383 h 748"/>
                    <a:gd name="T60" fmla="*/ 19 w 296"/>
                    <a:gd name="T61" fmla="*/ 285 h 748"/>
                    <a:gd name="T62" fmla="*/ 0 w 296"/>
                    <a:gd name="T63" fmla="*/ 188 h 7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96" h="748">
                      <a:moveTo>
                        <a:pt x="0" y="188"/>
                      </a:moveTo>
                      <a:cubicBezTo>
                        <a:pt x="0" y="186"/>
                        <a:pt x="0" y="185"/>
                        <a:pt x="0" y="183"/>
                      </a:cubicBezTo>
                      <a:cubicBezTo>
                        <a:pt x="6" y="178"/>
                        <a:pt x="6" y="168"/>
                        <a:pt x="12" y="166"/>
                      </a:cubicBezTo>
                      <a:cubicBezTo>
                        <a:pt x="37" y="176"/>
                        <a:pt x="73" y="176"/>
                        <a:pt x="103" y="169"/>
                      </a:cubicBezTo>
                      <a:cubicBezTo>
                        <a:pt x="116" y="117"/>
                        <a:pt x="127" y="60"/>
                        <a:pt x="143" y="9"/>
                      </a:cubicBezTo>
                      <a:cubicBezTo>
                        <a:pt x="158" y="0"/>
                        <a:pt x="177" y="2"/>
                        <a:pt x="191" y="11"/>
                      </a:cubicBezTo>
                      <a:cubicBezTo>
                        <a:pt x="204" y="36"/>
                        <a:pt x="210" y="83"/>
                        <a:pt x="225" y="112"/>
                      </a:cubicBezTo>
                      <a:cubicBezTo>
                        <a:pt x="229" y="119"/>
                        <a:pt x="237" y="125"/>
                        <a:pt x="245" y="133"/>
                      </a:cubicBezTo>
                      <a:cubicBezTo>
                        <a:pt x="252" y="140"/>
                        <a:pt x="260" y="152"/>
                        <a:pt x="268" y="153"/>
                      </a:cubicBezTo>
                      <a:cubicBezTo>
                        <a:pt x="277" y="155"/>
                        <a:pt x="286" y="149"/>
                        <a:pt x="296" y="153"/>
                      </a:cubicBezTo>
                      <a:cubicBezTo>
                        <a:pt x="291" y="195"/>
                        <a:pt x="275" y="228"/>
                        <a:pt x="275" y="276"/>
                      </a:cubicBezTo>
                      <a:cubicBezTo>
                        <a:pt x="273" y="281"/>
                        <a:pt x="269" y="281"/>
                        <a:pt x="268" y="288"/>
                      </a:cubicBezTo>
                      <a:cubicBezTo>
                        <a:pt x="265" y="291"/>
                        <a:pt x="265" y="298"/>
                        <a:pt x="264" y="303"/>
                      </a:cubicBezTo>
                      <a:cubicBezTo>
                        <a:pt x="261" y="312"/>
                        <a:pt x="253" y="318"/>
                        <a:pt x="253" y="328"/>
                      </a:cubicBezTo>
                      <a:cubicBezTo>
                        <a:pt x="252" y="336"/>
                        <a:pt x="256" y="345"/>
                        <a:pt x="256" y="354"/>
                      </a:cubicBezTo>
                      <a:cubicBezTo>
                        <a:pt x="258" y="380"/>
                        <a:pt x="258" y="399"/>
                        <a:pt x="252" y="418"/>
                      </a:cubicBezTo>
                      <a:cubicBezTo>
                        <a:pt x="266" y="448"/>
                        <a:pt x="257" y="479"/>
                        <a:pt x="249" y="514"/>
                      </a:cubicBezTo>
                      <a:cubicBezTo>
                        <a:pt x="245" y="536"/>
                        <a:pt x="243" y="559"/>
                        <a:pt x="237" y="577"/>
                      </a:cubicBezTo>
                      <a:cubicBezTo>
                        <a:pt x="233" y="586"/>
                        <a:pt x="227" y="595"/>
                        <a:pt x="223" y="604"/>
                      </a:cubicBezTo>
                      <a:cubicBezTo>
                        <a:pt x="220" y="611"/>
                        <a:pt x="218" y="623"/>
                        <a:pt x="215" y="633"/>
                      </a:cubicBezTo>
                      <a:cubicBezTo>
                        <a:pt x="212" y="644"/>
                        <a:pt x="207" y="656"/>
                        <a:pt x="207" y="662"/>
                      </a:cubicBezTo>
                      <a:cubicBezTo>
                        <a:pt x="208" y="675"/>
                        <a:pt x="224" y="690"/>
                        <a:pt x="222" y="707"/>
                      </a:cubicBezTo>
                      <a:cubicBezTo>
                        <a:pt x="203" y="705"/>
                        <a:pt x="197" y="690"/>
                        <a:pt x="182" y="689"/>
                      </a:cubicBezTo>
                      <a:cubicBezTo>
                        <a:pt x="141" y="688"/>
                        <a:pt x="137" y="726"/>
                        <a:pt x="122" y="748"/>
                      </a:cubicBezTo>
                      <a:cubicBezTo>
                        <a:pt x="120" y="724"/>
                        <a:pt x="115" y="702"/>
                        <a:pt x="114" y="677"/>
                      </a:cubicBezTo>
                      <a:cubicBezTo>
                        <a:pt x="108" y="676"/>
                        <a:pt x="99" y="684"/>
                        <a:pt x="97" y="672"/>
                      </a:cubicBezTo>
                      <a:cubicBezTo>
                        <a:pt x="64" y="661"/>
                        <a:pt x="98" y="627"/>
                        <a:pt x="97" y="609"/>
                      </a:cubicBezTo>
                      <a:cubicBezTo>
                        <a:pt x="97" y="602"/>
                        <a:pt x="90" y="595"/>
                        <a:pt x="86" y="588"/>
                      </a:cubicBezTo>
                      <a:cubicBezTo>
                        <a:pt x="74" y="569"/>
                        <a:pt x="70" y="549"/>
                        <a:pt x="64" y="525"/>
                      </a:cubicBezTo>
                      <a:cubicBezTo>
                        <a:pt x="52" y="479"/>
                        <a:pt x="45" y="432"/>
                        <a:pt x="35" y="383"/>
                      </a:cubicBezTo>
                      <a:cubicBezTo>
                        <a:pt x="28" y="351"/>
                        <a:pt x="22" y="318"/>
                        <a:pt x="19" y="285"/>
                      </a:cubicBezTo>
                      <a:cubicBezTo>
                        <a:pt x="18" y="251"/>
                        <a:pt x="7" y="214"/>
                        <a:pt x="0" y="188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49" name="Freeform 179">
                  <a:extLst>
                    <a:ext uri="{FF2B5EF4-FFF2-40B4-BE49-F238E27FC236}">
                      <a16:creationId xmlns:a16="http://schemas.microsoft.com/office/drawing/2014/main" id="{62A64F68-8C75-471A-9477-B9FD924335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4413" y="3113098"/>
                  <a:ext cx="452441" cy="569916"/>
                </a:xfrm>
                <a:custGeom>
                  <a:avLst/>
                  <a:gdLst>
                    <a:gd name="T0" fmla="*/ 0 w 285"/>
                    <a:gd name="T1" fmla="*/ 0 h 359"/>
                    <a:gd name="T2" fmla="*/ 14 w 285"/>
                    <a:gd name="T3" fmla="*/ 96 h 359"/>
                    <a:gd name="T4" fmla="*/ 108 w 285"/>
                    <a:gd name="T5" fmla="*/ 330 h 359"/>
                    <a:gd name="T6" fmla="*/ 285 w 285"/>
                    <a:gd name="T7" fmla="*/ 359 h 359"/>
                    <a:gd name="T8" fmla="*/ 285 w 285"/>
                    <a:gd name="T9" fmla="*/ 311 h 359"/>
                    <a:gd name="T10" fmla="*/ 0 w 285"/>
                    <a:gd name="T11" fmla="*/ 0 h 3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5" h="359">
                      <a:moveTo>
                        <a:pt x="0" y="0"/>
                      </a:moveTo>
                      <a:lnTo>
                        <a:pt x="14" y="96"/>
                      </a:lnTo>
                      <a:lnTo>
                        <a:pt x="108" y="330"/>
                      </a:lnTo>
                      <a:lnTo>
                        <a:pt x="285" y="359"/>
                      </a:lnTo>
                      <a:lnTo>
                        <a:pt x="285" y="3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50" name="Freeform 180">
                  <a:extLst>
                    <a:ext uri="{FF2B5EF4-FFF2-40B4-BE49-F238E27FC236}">
                      <a16:creationId xmlns:a16="http://schemas.microsoft.com/office/drawing/2014/main" id="{6BC43D5F-9797-4F42-81A8-717731583B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5286" y="3146435"/>
                  <a:ext cx="592139" cy="619126"/>
                </a:xfrm>
                <a:custGeom>
                  <a:avLst/>
                  <a:gdLst>
                    <a:gd name="T0" fmla="*/ 158 w 158"/>
                    <a:gd name="T1" fmla="*/ 0 h 165"/>
                    <a:gd name="T2" fmla="*/ 158 w 158"/>
                    <a:gd name="T3" fmla="*/ 80 h 165"/>
                    <a:gd name="T4" fmla="*/ 113 w 158"/>
                    <a:gd name="T5" fmla="*/ 158 h 165"/>
                    <a:gd name="T6" fmla="*/ 23 w 158"/>
                    <a:gd name="T7" fmla="*/ 156 h 165"/>
                    <a:gd name="T8" fmla="*/ 0 w 158"/>
                    <a:gd name="T9" fmla="*/ 148 h 165"/>
                    <a:gd name="T10" fmla="*/ 87 w 158"/>
                    <a:gd name="T11" fmla="*/ 137 h 165"/>
                    <a:gd name="T12" fmla="*/ 158 w 158"/>
                    <a:gd name="T13" fmla="*/ 0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8" h="165">
                      <a:moveTo>
                        <a:pt x="158" y="0"/>
                      </a:moveTo>
                      <a:cubicBezTo>
                        <a:pt x="158" y="80"/>
                        <a:pt x="158" y="80"/>
                        <a:pt x="158" y="80"/>
                      </a:cubicBezTo>
                      <a:cubicBezTo>
                        <a:pt x="158" y="80"/>
                        <a:pt x="139" y="165"/>
                        <a:pt x="113" y="158"/>
                      </a:cubicBezTo>
                      <a:cubicBezTo>
                        <a:pt x="87" y="152"/>
                        <a:pt x="26" y="157"/>
                        <a:pt x="23" y="156"/>
                      </a:cubicBezTo>
                      <a:cubicBezTo>
                        <a:pt x="20" y="156"/>
                        <a:pt x="0" y="148"/>
                        <a:pt x="0" y="148"/>
                      </a:cubicBezTo>
                      <a:cubicBezTo>
                        <a:pt x="0" y="148"/>
                        <a:pt x="82" y="138"/>
                        <a:pt x="87" y="137"/>
                      </a:cubicBezTo>
                      <a:cubicBezTo>
                        <a:pt x="92" y="136"/>
                        <a:pt x="158" y="0"/>
                        <a:pt x="158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51" name="Freeform 181">
                  <a:extLst>
                    <a:ext uri="{FF2B5EF4-FFF2-40B4-BE49-F238E27FC236}">
                      <a16:creationId xmlns:a16="http://schemas.microsoft.com/office/drawing/2014/main" id="{1BDD5060-01D1-4D6D-AFA1-87AA639C7D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9813" y="3446473"/>
                  <a:ext cx="63501" cy="423863"/>
                </a:xfrm>
                <a:custGeom>
                  <a:avLst/>
                  <a:gdLst>
                    <a:gd name="T0" fmla="*/ 0 w 40"/>
                    <a:gd name="T1" fmla="*/ 0 h 267"/>
                    <a:gd name="T2" fmla="*/ 0 w 40"/>
                    <a:gd name="T3" fmla="*/ 267 h 267"/>
                    <a:gd name="T4" fmla="*/ 40 w 40"/>
                    <a:gd name="T5" fmla="*/ 260 h 267"/>
                    <a:gd name="T6" fmla="*/ 0 w 40"/>
                    <a:gd name="T7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0" h="267">
                      <a:moveTo>
                        <a:pt x="0" y="0"/>
                      </a:moveTo>
                      <a:lnTo>
                        <a:pt x="0" y="267"/>
                      </a:lnTo>
                      <a:lnTo>
                        <a:pt x="40" y="2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52" name="Freeform 182">
                  <a:extLst>
                    <a:ext uri="{FF2B5EF4-FFF2-40B4-BE49-F238E27FC236}">
                      <a16:creationId xmlns:a16="http://schemas.microsoft.com/office/drawing/2014/main" id="{C04143B2-AC75-4E26-9496-4ADC28E3EB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48036" y="3884623"/>
                  <a:ext cx="217490" cy="1497016"/>
                </a:xfrm>
                <a:custGeom>
                  <a:avLst/>
                  <a:gdLst>
                    <a:gd name="T0" fmla="*/ 58 w 58"/>
                    <a:gd name="T1" fmla="*/ 0 h 399"/>
                    <a:gd name="T2" fmla="*/ 6 w 58"/>
                    <a:gd name="T3" fmla="*/ 369 h 399"/>
                    <a:gd name="T4" fmla="*/ 0 w 58"/>
                    <a:gd name="T5" fmla="*/ 399 h 399"/>
                    <a:gd name="T6" fmla="*/ 34 w 58"/>
                    <a:gd name="T7" fmla="*/ 312 h 399"/>
                    <a:gd name="T8" fmla="*/ 29 w 58"/>
                    <a:gd name="T9" fmla="*/ 255 h 399"/>
                    <a:gd name="T10" fmla="*/ 48 w 58"/>
                    <a:gd name="T11" fmla="*/ 139 h 399"/>
                    <a:gd name="T12" fmla="*/ 58 w 5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399">
                      <a:moveTo>
                        <a:pt x="58" y="0"/>
                      </a:moveTo>
                      <a:cubicBezTo>
                        <a:pt x="6" y="369"/>
                        <a:pt x="6" y="369"/>
                        <a:pt x="6" y="369"/>
                      </a:cubicBezTo>
                      <a:cubicBezTo>
                        <a:pt x="0" y="399"/>
                        <a:pt x="0" y="399"/>
                        <a:pt x="0" y="399"/>
                      </a:cubicBezTo>
                      <a:cubicBezTo>
                        <a:pt x="0" y="399"/>
                        <a:pt x="36" y="342"/>
                        <a:pt x="34" y="312"/>
                      </a:cubicBezTo>
                      <a:cubicBezTo>
                        <a:pt x="32" y="282"/>
                        <a:pt x="28" y="282"/>
                        <a:pt x="29" y="255"/>
                      </a:cubicBezTo>
                      <a:cubicBezTo>
                        <a:pt x="31" y="227"/>
                        <a:pt x="46" y="145"/>
                        <a:pt x="48" y="139"/>
                      </a:cubicBezTo>
                      <a:cubicBezTo>
                        <a:pt x="50" y="132"/>
                        <a:pt x="58" y="0"/>
                        <a:pt x="58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53" name="Freeform 183">
                  <a:extLst>
                    <a:ext uri="{FF2B5EF4-FFF2-40B4-BE49-F238E27FC236}">
                      <a16:creationId xmlns:a16="http://schemas.microsoft.com/office/drawing/2014/main" id="{422164B0-7A21-4BAC-BE37-305A9840B6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33802" y="4038612"/>
                  <a:ext cx="231777" cy="385763"/>
                </a:xfrm>
                <a:custGeom>
                  <a:avLst/>
                  <a:gdLst>
                    <a:gd name="T0" fmla="*/ 62 w 62"/>
                    <a:gd name="T1" fmla="*/ 0 h 103"/>
                    <a:gd name="T2" fmla="*/ 35 w 62"/>
                    <a:gd name="T3" fmla="*/ 31 h 103"/>
                    <a:gd name="T4" fmla="*/ 27 w 62"/>
                    <a:gd name="T5" fmla="*/ 66 h 103"/>
                    <a:gd name="T6" fmla="*/ 6 w 62"/>
                    <a:gd name="T7" fmla="*/ 79 h 103"/>
                    <a:gd name="T8" fmla="*/ 23 w 62"/>
                    <a:gd name="T9" fmla="*/ 30 h 103"/>
                    <a:gd name="T10" fmla="*/ 62 w 62"/>
                    <a:gd name="T1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2" h="103">
                      <a:moveTo>
                        <a:pt x="62" y="0"/>
                      </a:moveTo>
                      <a:cubicBezTo>
                        <a:pt x="62" y="0"/>
                        <a:pt x="37" y="20"/>
                        <a:pt x="35" y="31"/>
                      </a:cubicBezTo>
                      <a:cubicBezTo>
                        <a:pt x="33" y="42"/>
                        <a:pt x="25" y="75"/>
                        <a:pt x="27" y="66"/>
                      </a:cubicBezTo>
                      <a:cubicBezTo>
                        <a:pt x="28" y="58"/>
                        <a:pt x="0" y="103"/>
                        <a:pt x="6" y="79"/>
                      </a:cubicBezTo>
                      <a:cubicBezTo>
                        <a:pt x="12" y="55"/>
                        <a:pt x="14" y="48"/>
                        <a:pt x="23" y="30"/>
                      </a:cubicBezTo>
                      <a:cubicBezTo>
                        <a:pt x="33" y="12"/>
                        <a:pt x="62" y="0"/>
                        <a:pt x="62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54" name="Freeform 184">
                  <a:extLst>
                    <a:ext uri="{FF2B5EF4-FFF2-40B4-BE49-F238E27FC236}">
                      <a16:creationId xmlns:a16="http://schemas.microsoft.com/office/drawing/2014/main" id="{5E230677-5A13-4A71-AD83-746A6D6F0F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5862" y="4581537"/>
                  <a:ext cx="153989" cy="434977"/>
                </a:xfrm>
                <a:custGeom>
                  <a:avLst/>
                  <a:gdLst>
                    <a:gd name="T0" fmla="*/ 41 w 41"/>
                    <a:gd name="T1" fmla="*/ 0 h 116"/>
                    <a:gd name="T2" fmla="*/ 25 w 41"/>
                    <a:gd name="T3" fmla="*/ 47 h 116"/>
                    <a:gd name="T4" fmla="*/ 7 w 41"/>
                    <a:gd name="T5" fmla="*/ 85 h 116"/>
                    <a:gd name="T6" fmla="*/ 36 w 41"/>
                    <a:gd name="T7" fmla="*/ 0 h 116"/>
                    <a:gd name="T8" fmla="*/ 41 w 41"/>
                    <a:gd name="T9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116">
                      <a:moveTo>
                        <a:pt x="41" y="0"/>
                      </a:moveTo>
                      <a:cubicBezTo>
                        <a:pt x="38" y="8"/>
                        <a:pt x="33" y="18"/>
                        <a:pt x="25" y="47"/>
                      </a:cubicBezTo>
                      <a:cubicBezTo>
                        <a:pt x="17" y="75"/>
                        <a:pt x="0" y="116"/>
                        <a:pt x="7" y="85"/>
                      </a:cubicBezTo>
                      <a:cubicBezTo>
                        <a:pt x="15" y="53"/>
                        <a:pt x="31" y="0"/>
                        <a:pt x="36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55" name="Freeform 185">
                  <a:extLst>
                    <a:ext uri="{FF2B5EF4-FFF2-40B4-BE49-F238E27FC236}">
                      <a16:creationId xmlns:a16="http://schemas.microsoft.com/office/drawing/2014/main" id="{561B5CD6-4321-449A-93CC-CD8B13CA4A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55988" y="5470541"/>
                  <a:ext cx="274638" cy="165099"/>
                </a:xfrm>
                <a:custGeom>
                  <a:avLst/>
                  <a:gdLst>
                    <a:gd name="T0" fmla="*/ 0 w 73"/>
                    <a:gd name="T1" fmla="*/ 41 h 44"/>
                    <a:gd name="T2" fmla="*/ 37 w 73"/>
                    <a:gd name="T3" fmla="*/ 29 h 44"/>
                    <a:gd name="T4" fmla="*/ 68 w 73"/>
                    <a:gd name="T5" fmla="*/ 29 h 44"/>
                    <a:gd name="T6" fmla="*/ 50 w 73"/>
                    <a:gd name="T7" fmla="*/ 0 h 44"/>
                    <a:gd name="T8" fmla="*/ 0 w 73"/>
                    <a:gd name="T9" fmla="*/ 41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44">
                      <a:moveTo>
                        <a:pt x="0" y="41"/>
                      </a:moveTo>
                      <a:cubicBezTo>
                        <a:pt x="0" y="41"/>
                        <a:pt x="8" y="27"/>
                        <a:pt x="37" y="29"/>
                      </a:cubicBezTo>
                      <a:cubicBezTo>
                        <a:pt x="65" y="31"/>
                        <a:pt x="66" y="44"/>
                        <a:pt x="68" y="29"/>
                      </a:cubicBezTo>
                      <a:cubicBezTo>
                        <a:pt x="70" y="14"/>
                        <a:pt x="73" y="0"/>
                        <a:pt x="50" y="0"/>
                      </a:cubicBezTo>
                      <a:cubicBezTo>
                        <a:pt x="27" y="0"/>
                        <a:pt x="0" y="41"/>
                        <a:pt x="0" y="41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56" name="Freeform 186">
                  <a:extLst>
                    <a:ext uri="{FF2B5EF4-FFF2-40B4-BE49-F238E27FC236}">
                      <a16:creationId xmlns:a16="http://schemas.microsoft.com/office/drawing/2014/main" id="{0D17F8E7-3590-48C4-B05D-F95E97FB79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9451" y="5111766"/>
                  <a:ext cx="139699" cy="265114"/>
                </a:xfrm>
                <a:custGeom>
                  <a:avLst/>
                  <a:gdLst>
                    <a:gd name="T0" fmla="*/ 16 w 37"/>
                    <a:gd name="T1" fmla="*/ 2 h 71"/>
                    <a:gd name="T2" fmla="*/ 31 w 37"/>
                    <a:gd name="T3" fmla="*/ 31 h 71"/>
                    <a:gd name="T4" fmla="*/ 24 w 37"/>
                    <a:gd name="T5" fmla="*/ 42 h 71"/>
                    <a:gd name="T6" fmla="*/ 3 w 37"/>
                    <a:gd name="T7" fmla="*/ 7 h 71"/>
                    <a:gd name="T8" fmla="*/ 16 w 37"/>
                    <a:gd name="T9" fmla="*/ 2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71">
                      <a:moveTo>
                        <a:pt x="16" y="2"/>
                      </a:moveTo>
                      <a:cubicBezTo>
                        <a:pt x="24" y="6"/>
                        <a:pt x="32" y="19"/>
                        <a:pt x="31" y="31"/>
                      </a:cubicBezTo>
                      <a:cubicBezTo>
                        <a:pt x="30" y="43"/>
                        <a:pt x="37" y="71"/>
                        <a:pt x="24" y="42"/>
                      </a:cubicBezTo>
                      <a:cubicBezTo>
                        <a:pt x="11" y="14"/>
                        <a:pt x="0" y="14"/>
                        <a:pt x="3" y="7"/>
                      </a:cubicBezTo>
                      <a:cubicBezTo>
                        <a:pt x="6" y="0"/>
                        <a:pt x="16" y="2"/>
                        <a:pt x="16" y="2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57" name="Freeform 187">
                  <a:extLst>
                    <a:ext uri="{FF2B5EF4-FFF2-40B4-BE49-F238E27FC236}">
                      <a16:creationId xmlns:a16="http://schemas.microsoft.com/office/drawing/2014/main" id="{3A3E7634-61CB-4BDD-9A81-661030C791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7834" y="4159261"/>
                  <a:ext cx="322265" cy="741365"/>
                </a:xfrm>
                <a:custGeom>
                  <a:avLst/>
                  <a:gdLst>
                    <a:gd name="T0" fmla="*/ 0 w 86"/>
                    <a:gd name="T1" fmla="*/ 0 h 198"/>
                    <a:gd name="T2" fmla="*/ 38 w 86"/>
                    <a:gd name="T3" fmla="*/ 16 h 198"/>
                    <a:gd name="T4" fmla="*/ 51 w 86"/>
                    <a:gd name="T5" fmla="*/ 54 h 198"/>
                    <a:gd name="T6" fmla="*/ 36 w 86"/>
                    <a:gd name="T7" fmla="*/ 54 h 198"/>
                    <a:gd name="T8" fmla="*/ 70 w 86"/>
                    <a:gd name="T9" fmla="*/ 161 h 198"/>
                    <a:gd name="T10" fmla="*/ 37 w 86"/>
                    <a:gd name="T11" fmla="*/ 132 h 198"/>
                    <a:gd name="T12" fmla="*/ 36 w 86"/>
                    <a:gd name="T13" fmla="*/ 198 h 198"/>
                    <a:gd name="T14" fmla="*/ 16 w 86"/>
                    <a:gd name="T15" fmla="*/ 96 h 198"/>
                    <a:gd name="T16" fmla="*/ 0 w 86"/>
                    <a:gd name="T17" fmla="*/ 28 h 198"/>
                    <a:gd name="T18" fmla="*/ 0 w 86"/>
                    <a:gd name="T19" fmla="*/ 0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6" h="198">
                      <a:moveTo>
                        <a:pt x="0" y="0"/>
                      </a:moveTo>
                      <a:cubicBezTo>
                        <a:pt x="0" y="0"/>
                        <a:pt x="32" y="2"/>
                        <a:pt x="38" y="16"/>
                      </a:cubicBezTo>
                      <a:cubicBezTo>
                        <a:pt x="44" y="31"/>
                        <a:pt x="66" y="67"/>
                        <a:pt x="51" y="54"/>
                      </a:cubicBezTo>
                      <a:cubicBezTo>
                        <a:pt x="36" y="41"/>
                        <a:pt x="17" y="24"/>
                        <a:pt x="36" y="54"/>
                      </a:cubicBezTo>
                      <a:cubicBezTo>
                        <a:pt x="54" y="84"/>
                        <a:pt x="86" y="181"/>
                        <a:pt x="70" y="161"/>
                      </a:cubicBezTo>
                      <a:cubicBezTo>
                        <a:pt x="55" y="141"/>
                        <a:pt x="39" y="108"/>
                        <a:pt x="37" y="132"/>
                      </a:cubicBezTo>
                      <a:cubicBezTo>
                        <a:pt x="36" y="156"/>
                        <a:pt x="36" y="198"/>
                        <a:pt x="36" y="198"/>
                      </a:cubicBezTo>
                      <a:cubicBezTo>
                        <a:pt x="16" y="96"/>
                        <a:pt x="16" y="96"/>
                        <a:pt x="16" y="96"/>
                      </a:cubicBezTo>
                      <a:cubicBezTo>
                        <a:pt x="0" y="28"/>
                        <a:pt x="0" y="28"/>
                        <a:pt x="0" y="2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58" name="Freeform 157">
                  <a:extLst>
                    <a:ext uri="{FF2B5EF4-FFF2-40B4-BE49-F238E27FC236}">
                      <a16:creationId xmlns:a16="http://schemas.microsoft.com/office/drawing/2014/main" id="{CBC83B1C-01D4-41B5-8442-0DDEEF5676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5160" y="960441"/>
                  <a:ext cx="584203" cy="1049339"/>
                </a:xfrm>
                <a:custGeom>
                  <a:avLst/>
                  <a:gdLst>
                    <a:gd name="T0" fmla="*/ 0 w 156"/>
                    <a:gd name="T1" fmla="*/ 112 h 280"/>
                    <a:gd name="T2" fmla="*/ 0 w 156"/>
                    <a:gd name="T3" fmla="*/ 104 h 280"/>
                    <a:gd name="T4" fmla="*/ 11 w 156"/>
                    <a:gd name="T5" fmla="*/ 96 h 280"/>
                    <a:gd name="T6" fmla="*/ 4 w 156"/>
                    <a:gd name="T7" fmla="*/ 46 h 280"/>
                    <a:gd name="T8" fmla="*/ 28 w 156"/>
                    <a:gd name="T9" fmla="*/ 22 h 280"/>
                    <a:gd name="T10" fmla="*/ 59 w 156"/>
                    <a:gd name="T11" fmla="*/ 4 h 280"/>
                    <a:gd name="T12" fmla="*/ 108 w 156"/>
                    <a:gd name="T13" fmla="*/ 6 h 280"/>
                    <a:gd name="T14" fmla="*/ 138 w 156"/>
                    <a:gd name="T15" fmla="*/ 93 h 280"/>
                    <a:gd name="T16" fmla="*/ 143 w 156"/>
                    <a:gd name="T17" fmla="*/ 99 h 280"/>
                    <a:gd name="T18" fmla="*/ 131 w 156"/>
                    <a:gd name="T19" fmla="*/ 140 h 280"/>
                    <a:gd name="T20" fmla="*/ 122 w 156"/>
                    <a:gd name="T21" fmla="*/ 147 h 280"/>
                    <a:gd name="T22" fmla="*/ 114 w 156"/>
                    <a:gd name="T23" fmla="*/ 215 h 280"/>
                    <a:gd name="T24" fmla="*/ 80 w 156"/>
                    <a:gd name="T25" fmla="*/ 280 h 280"/>
                    <a:gd name="T26" fmla="*/ 56 w 156"/>
                    <a:gd name="T27" fmla="*/ 267 h 280"/>
                    <a:gd name="T28" fmla="*/ 44 w 156"/>
                    <a:gd name="T29" fmla="*/ 241 h 280"/>
                    <a:gd name="T30" fmla="*/ 24 w 156"/>
                    <a:gd name="T31" fmla="*/ 188 h 280"/>
                    <a:gd name="T32" fmla="*/ 24 w 156"/>
                    <a:gd name="T33" fmla="*/ 150 h 280"/>
                    <a:gd name="T34" fmla="*/ 12 w 156"/>
                    <a:gd name="T35" fmla="*/ 137 h 280"/>
                    <a:gd name="T36" fmla="*/ 0 w 156"/>
                    <a:gd name="T37" fmla="*/ 112 h 2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6" h="280">
                      <a:moveTo>
                        <a:pt x="0" y="112"/>
                      </a:moveTo>
                      <a:cubicBezTo>
                        <a:pt x="0" y="109"/>
                        <a:pt x="0" y="107"/>
                        <a:pt x="0" y="104"/>
                      </a:cubicBezTo>
                      <a:cubicBezTo>
                        <a:pt x="3" y="101"/>
                        <a:pt x="3" y="94"/>
                        <a:pt x="11" y="96"/>
                      </a:cubicBezTo>
                      <a:cubicBezTo>
                        <a:pt x="6" y="80"/>
                        <a:pt x="6" y="64"/>
                        <a:pt x="4" y="46"/>
                      </a:cubicBezTo>
                      <a:cubicBezTo>
                        <a:pt x="8" y="36"/>
                        <a:pt x="19" y="30"/>
                        <a:pt x="28" y="22"/>
                      </a:cubicBezTo>
                      <a:cubicBezTo>
                        <a:pt x="38" y="16"/>
                        <a:pt x="47" y="7"/>
                        <a:pt x="59" y="4"/>
                      </a:cubicBezTo>
                      <a:cubicBezTo>
                        <a:pt x="72" y="0"/>
                        <a:pt x="89" y="6"/>
                        <a:pt x="108" y="6"/>
                      </a:cubicBezTo>
                      <a:cubicBezTo>
                        <a:pt x="134" y="19"/>
                        <a:pt x="156" y="55"/>
                        <a:pt x="138" y="93"/>
                      </a:cubicBezTo>
                      <a:cubicBezTo>
                        <a:pt x="137" y="97"/>
                        <a:pt x="145" y="96"/>
                        <a:pt x="143" y="99"/>
                      </a:cubicBezTo>
                      <a:cubicBezTo>
                        <a:pt x="149" y="115"/>
                        <a:pt x="135" y="128"/>
                        <a:pt x="131" y="140"/>
                      </a:cubicBezTo>
                      <a:cubicBezTo>
                        <a:pt x="130" y="142"/>
                        <a:pt x="126" y="146"/>
                        <a:pt x="122" y="147"/>
                      </a:cubicBezTo>
                      <a:cubicBezTo>
                        <a:pt x="122" y="170"/>
                        <a:pt x="121" y="196"/>
                        <a:pt x="114" y="215"/>
                      </a:cubicBezTo>
                      <a:cubicBezTo>
                        <a:pt x="108" y="240"/>
                        <a:pt x="102" y="273"/>
                        <a:pt x="80" y="280"/>
                      </a:cubicBezTo>
                      <a:cubicBezTo>
                        <a:pt x="72" y="274"/>
                        <a:pt x="61" y="274"/>
                        <a:pt x="56" y="267"/>
                      </a:cubicBezTo>
                      <a:cubicBezTo>
                        <a:pt x="51" y="260"/>
                        <a:pt x="48" y="249"/>
                        <a:pt x="44" y="241"/>
                      </a:cubicBezTo>
                      <a:cubicBezTo>
                        <a:pt x="38" y="226"/>
                        <a:pt x="27" y="204"/>
                        <a:pt x="24" y="188"/>
                      </a:cubicBezTo>
                      <a:cubicBezTo>
                        <a:pt x="22" y="175"/>
                        <a:pt x="27" y="161"/>
                        <a:pt x="24" y="150"/>
                      </a:cubicBezTo>
                      <a:cubicBezTo>
                        <a:pt x="22" y="140"/>
                        <a:pt x="18" y="144"/>
                        <a:pt x="12" y="137"/>
                      </a:cubicBezTo>
                      <a:cubicBezTo>
                        <a:pt x="7" y="130"/>
                        <a:pt x="4" y="118"/>
                        <a:pt x="0" y="112"/>
                      </a:cubicBezTo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59" name="Freeform 158">
                  <a:extLst>
                    <a:ext uri="{FF2B5EF4-FFF2-40B4-BE49-F238E27FC236}">
                      <a16:creationId xmlns:a16="http://schemas.microsoft.com/office/drawing/2014/main" id="{FF0D8B32-C3F5-4E33-9BA7-EBCA23A2BB1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49535" y="3479810"/>
                  <a:ext cx="255587" cy="434977"/>
                </a:xfrm>
                <a:custGeom>
                  <a:avLst/>
                  <a:gdLst>
                    <a:gd name="T0" fmla="*/ 63 w 68"/>
                    <a:gd name="T1" fmla="*/ 116 h 116"/>
                    <a:gd name="T2" fmla="*/ 60 w 68"/>
                    <a:gd name="T3" fmla="*/ 116 h 116"/>
                    <a:gd name="T4" fmla="*/ 16 w 68"/>
                    <a:gd name="T5" fmla="*/ 98 h 116"/>
                    <a:gd name="T6" fmla="*/ 0 w 68"/>
                    <a:gd name="T7" fmla="*/ 23 h 116"/>
                    <a:gd name="T8" fmla="*/ 55 w 68"/>
                    <a:gd name="T9" fmla="*/ 16 h 116"/>
                    <a:gd name="T10" fmla="*/ 68 w 68"/>
                    <a:gd name="T11" fmla="*/ 91 h 116"/>
                    <a:gd name="T12" fmla="*/ 62 w 68"/>
                    <a:gd name="T13" fmla="*/ 103 h 116"/>
                    <a:gd name="T14" fmla="*/ 63 w 68"/>
                    <a:gd name="T15" fmla="*/ 116 h 116"/>
                    <a:gd name="T16" fmla="*/ 38 w 68"/>
                    <a:gd name="T17" fmla="*/ 65 h 116"/>
                    <a:gd name="T18" fmla="*/ 54 w 68"/>
                    <a:gd name="T19" fmla="*/ 91 h 116"/>
                    <a:gd name="T20" fmla="*/ 44 w 68"/>
                    <a:gd name="T21" fmla="*/ 60 h 116"/>
                    <a:gd name="T22" fmla="*/ 38 w 68"/>
                    <a:gd name="T23" fmla="*/ 65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8" h="116">
                      <a:moveTo>
                        <a:pt x="63" y="116"/>
                      </a:moveTo>
                      <a:cubicBezTo>
                        <a:pt x="62" y="116"/>
                        <a:pt x="60" y="116"/>
                        <a:pt x="60" y="116"/>
                      </a:cubicBezTo>
                      <a:cubicBezTo>
                        <a:pt x="46" y="108"/>
                        <a:pt x="26" y="108"/>
                        <a:pt x="16" y="98"/>
                      </a:cubicBezTo>
                      <a:cubicBezTo>
                        <a:pt x="0" y="81"/>
                        <a:pt x="0" y="56"/>
                        <a:pt x="0" y="23"/>
                      </a:cubicBezTo>
                      <a:cubicBezTo>
                        <a:pt x="12" y="8"/>
                        <a:pt x="40" y="0"/>
                        <a:pt x="55" y="16"/>
                      </a:cubicBezTo>
                      <a:cubicBezTo>
                        <a:pt x="60" y="40"/>
                        <a:pt x="62" y="69"/>
                        <a:pt x="68" y="91"/>
                      </a:cubicBezTo>
                      <a:cubicBezTo>
                        <a:pt x="68" y="98"/>
                        <a:pt x="59" y="95"/>
                        <a:pt x="62" y="103"/>
                      </a:cubicBezTo>
                      <a:cubicBezTo>
                        <a:pt x="66" y="106"/>
                        <a:pt x="67" y="110"/>
                        <a:pt x="63" y="116"/>
                      </a:cubicBezTo>
                      <a:close/>
                      <a:moveTo>
                        <a:pt x="38" y="65"/>
                      </a:moveTo>
                      <a:cubicBezTo>
                        <a:pt x="40" y="75"/>
                        <a:pt x="38" y="93"/>
                        <a:pt x="54" y="91"/>
                      </a:cubicBezTo>
                      <a:cubicBezTo>
                        <a:pt x="47" y="85"/>
                        <a:pt x="50" y="69"/>
                        <a:pt x="44" y="60"/>
                      </a:cubicBezTo>
                      <a:cubicBezTo>
                        <a:pt x="43" y="64"/>
                        <a:pt x="38" y="61"/>
                        <a:pt x="38" y="6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60" name="Freeform 161">
                  <a:extLst>
                    <a:ext uri="{FF2B5EF4-FFF2-40B4-BE49-F238E27FC236}">
                      <a16:creationId xmlns:a16="http://schemas.microsoft.com/office/drawing/2014/main" id="{931AC6A4-67A2-43DB-9213-D3B610A611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9451" y="1695456"/>
                  <a:ext cx="525465" cy="1109667"/>
                </a:xfrm>
                <a:custGeom>
                  <a:avLst/>
                  <a:gdLst>
                    <a:gd name="T0" fmla="*/ 139 w 140"/>
                    <a:gd name="T1" fmla="*/ 64 h 296"/>
                    <a:gd name="T2" fmla="*/ 139 w 140"/>
                    <a:gd name="T3" fmla="*/ 71 h 296"/>
                    <a:gd name="T4" fmla="*/ 138 w 140"/>
                    <a:gd name="T5" fmla="*/ 71 h 296"/>
                    <a:gd name="T6" fmla="*/ 93 w 140"/>
                    <a:gd name="T7" fmla="*/ 296 h 296"/>
                    <a:gd name="T8" fmla="*/ 84 w 140"/>
                    <a:gd name="T9" fmla="*/ 296 h 296"/>
                    <a:gd name="T10" fmla="*/ 75 w 140"/>
                    <a:gd name="T11" fmla="*/ 294 h 296"/>
                    <a:gd name="T12" fmla="*/ 63 w 140"/>
                    <a:gd name="T13" fmla="*/ 261 h 296"/>
                    <a:gd name="T14" fmla="*/ 33 w 140"/>
                    <a:gd name="T15" fmla="*/ 170 h 296"/>
                    <a:gd name="T16" fmla="*/ 0 w 140"/>
                    <a:gd name="T17" fmla="*/ 34 h 296"/>
                    <a:gd name="T18" fmla="*/ 0 w 140"/>
                    <a:gd name="T19" fmla="*/ 27 h 296"/>
                    <a:gd name="T20" fmla="*/ 16 w 140"/>
                    <a:gd name="T21" fmla="*/ 0 h 296"/>
                    <a:gd name="T22" fmla="*/ 67 w 140"/>
                    <a:gd name="T23" fmla="*/ 34 h 296"/>
                    <a:gd name="T24" fmla="*/ 70 w 140"/>
                    <a:gd name="T25" fmla="*/ 68 h 296"/>
                    <a:gd name="T26" fmla="*/ 81 w 140"/>
                    <a:gd name="T27" fmla="*/ 61 h 296"/>
                    <a:gd name="T28" fmla="*/ 76 w 140"/>
                    <a:gd name="T29" fmla="*/ 43 h 296"/>
                    <a:gd name="T30" fmla="*/ 110 w 140"/>
                    <a:gd name="T31" fmla="*/ 11 h 296"/>
                    <a:gd name="T32" fmla="*/ 121 w 140"/>
                    <a:gd name="T33" fmla="*/ 3 h 296"/>
                    <a:gd name="T34" fmla="*/ 139 w 140"/>
                    <a:gd name="T35" fmla="*/ 64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40" h="296">
                      <a:moveTo>
                        <a:pt x="139" y="64"/>
                      </a:moveTo>
                      <a:cubicBezTo>
                        <a:pt x="139" y="67"/>
                        <a:pt x="139" y="68"/>
                        <a:pt x="139" y="71"/>
                      </a:cubicBezTo>
                      <a:cubicBezTo>
                        <a:pt x="138" y="71"/>
                        <a:pt x="138" y="71"/>
                        <a:pt x="138" y="71"/>
                      </a:cubicBezTo>
                      <a:cubicBezTo>
                        <a:pt x="125" y="148"/>
                        <a:pt x="108" y="221"/>
                        <a:pt x="93" y="296"/>
                      </a:cubicBezTo>
                      <a:cubicBezTo>
                        <a:pt x="90" y="296"/>
                        <a:pt x="87" y="296"/>
                        <a:pt x="84" y="296"/>
                      </a:cubicBezTo>
                      <a:cubicBezTo>
                        <a:pt x="85" y="294"/>
                        <a:pt x="78" y="296"/>
                        <a:pt x="75" y="294"/>
                      </a:cubicBezTo>
                      <a:cubicBezTo>
                        <a:pt x="72" y="291"/>
                        <a:pt x="67" y="273"/>
                        <a:pt x="63" y="261"/>
                      </a:cubicBezTo>
                      <a:cubicBezTo>
                        <a:pt x="53" y="231"/>
                        <a:pt x="42" y="201"/>
                        <a:pt x="33" y="170"/>
                      </a:cubicBezTo>
                      <a:cubicBezTo>
                        <a:pt x="18" y="118"/>
                        <a:pt x="8" y="74"/>
                        <a:pt x="0" y="34"/>
                      </a:cubicBezTo>
                      <a:cubicBezTo>
                        <a:pt x="0" y="32"/>
                        <a:pt x="0" y="29"/>
                        <a:pt x="0" y="27"/>
                      </a:cubicBezTo>
                      <a:cubicBezTo>
                        <a:pt x="3" y="16"/>
                        <a:pt x="3" y="0"/>
                        <a:pt x="16" y="0"/>
                      </a:cubicBezTo>
                      <a:cubicBezTo>
                        <a:pt x="31" y="13"/>
                        <a:pt x="49" y="23"/>
                        <a:pt x="67" y="34"/>
                      </a:cubicBezTo>
                      <a:cubicBezTo>
                        <a:pt x="74" y="43"/>
                        <a:pt x="71" y="56"/>
                        <a:pt x="70" y="68"/>
                      </a:cubicBezTo>
                      <a:cubicBezTo>
                        <a:pt x="75" y="68"/>
                        <a:pt x="80" y="64"/>
                        <a:pt x="81" y="61"/>
                      </a:cubicBezTo>
                      <a:cubicBezTo>
                        <a:pt x="80" y="62"/>
                        <a:pt x="72" y="49"/>
                        <a:pt x="76" y="43"/>
                      </a:cubicBezTo>
                      <a:cubicBezTo>
                        <a:pt x="87" y="33"/>
                        <a:pt x="98" y="22"/>
                        <a:pt x="110" y="11"/>
                      </a:cubicBezTo>
                      <a:cubicBezTo>
                        <a:pt x="114" y="8"/>
                        <a:pt x="116" y="0"/>
                        <a:pt x="121" y="3"/>
                      </a:cubicBezTo>
                      <a:cubicBezTo>
                        <a:pt x="140" y="11"/>
                        <a:pt x="134" y="43"/>
                        <a:pt x="139" y="64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61" name="Freeform 162">
                  <a:extLst>
                    <a:ext uri="{FF2B5EF4-FFF2-40B4-BE49-F238E27FC236}">
                      <a16:creationId xmlns:a16="http://schemas.microsoft.com/office/drawing/2014/main" id="{C946F117-6DA3-409D-BD40-588F1EA5869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19371" y="1709743"/>
                  <a:ext cx="1695457" cy="2039945"/>
                </a:xfrm>
                <a:custGeom>
                  <a:avLst/>
                  <a:gdLst>
                    <a:gd name="T0" fmla="*/ 289 w 452"/>
                    <a:gd name="T1" fmla="*/ 0 h 544"/>
                    <a:gd name="T2" fmla="*/ 293 w 452"/>
                    <a:gd name="T3" fmla="*/ 0 h 544"/>
                    <a:gd name="T4" fmla="*/ 403 w 452"/>
                    <a:gd name="T5" fmla="*/ 35 h 544"/>
                    <a:gd name="T6" fmla="*/ 413 w 452"/>
                    <a:gd name="T7" fmla="*/ 78 h 544"/>
                    <a:gd name="T8" fmla="*/ 414 w 452"/>
                    <a:gd name="T9" fmla="*/ 130 h 544"/>
                    <a:gd name="T10" fmla="*/ 421 w 452"/>
                    <a:gd name="T11" fmla="*/ 163 h 544"/>
                    <a:gd name="T12" fmla="*/ 424 w 452"/>
                    <a:gd name="T13" fmla="*/ 225 h 544"/>
                    <a:gd name="T14" fmla="*/ 446 w 452"/>
                    <a:gd name="T15" fmla="*/ 341 h 544"/>
                    <a:gd name="T16" fmla="*/ 452 w 452"/>
                    <a:gd name="T17" fmla="*/ 475 h 544"/>
                    <a:gd name="T18" fmla="*/ 439 w 452"/>
                    <a:gd name="T19" fmla="*/ 471 h 544"/>
                    <a:gd name="T20" fmla="*/ 395 w 452"/>
                    <a:gd name="T21" fmla="*/ 476 h 544"/>
                    <a:gd name="T22" fmla="*/ 395 w 452"/>
                    <a:gd name="T23" fmla="*/ 513 h 544"/>
                    <a:gd name="T24" fmla="*/ 340 w 452"/>
                    <a:gd name="T25" fmla="*/ 517 h 544"/>
                    <a:gd name="T26" fmla="*/ 289 w 452"/>
                    <a:gd name="T27" fmla="*/ 470 h 544"/>
                    <a:gd name="T28" fmla="*/ 248 w 452"/>
                    <a:gd name="T29" fmla="*/ 372 h 544"/>
                    <a:gd name="T30" fmla="*/ 206 w 452"/>
                    <a:gd name="T31" fmla="*/ 527 h 544"/>
                    <a:gd name="T32" fmla="*/ 70 w 452"/>
                    <a:gd name="T33" fmla="*/ 523 h 544"/>
                    <a:gd name="T34" fmla="*/ 70 w 452"/>
                    <a:gd name="T35" fmla="*/ 499 h 544"/>
                    <a:gd name="T36" fmla="*/ 56 w 452"/>
                    <a:gd name="T37" fmla="*/ 486 h 544"/>
                    <a:gd name="T38" fmla="*/ 4 w 452"/>
                    <a:gd name="T39" fmla="*/ 499 h 544"/>
                    <a:gd name="T40" fmla="*/ 4 w 452"/>
                    <a:gd name="T41" fmla="*/ 364 h 544"/>
                    <a:gd name="T42" fmla="*/ 12 w 452"/>
                    <a:gd name="T43" fmla="*/ 322 h 544"/>
                    <a:gd name="T44" fmla="*/ 16 w 452"/>
                    <a:gd name="T45" fmla="*/ 264 h 544"/>
                    <a:gd name="T46" fmla="*/ 33 w 452"/>
                    <a:gd name="T47" fmla="*/ 124 h 544"/>
                    <a:gd name="T48" fmla="*/ 49 w 452"/>
                    <a:gd name="T49" fmla="*/ 44 h 544"/>
                    <a:gd name="T50" fmla="*/ 107 w 452"/>
                    <a:gd name="T51" fmla="*/ 25 h 544"/>
                    <a:gd name="T52" fmla="*/ 163 w 452"/>
                    <a:gd name="T53" fmla="*/ 4 h 544"/>
                    <a:gd name="T54" fmla="*/ 196 w 452"/>
                    <a:gd name="T55" fmla="*/ 153 h 544"/>
                    <a:gd name="T56" fmla="*/ 228 w 452"/>
                    <a:gd name="T57" fmla="*/ 255 h 544"/>
                    <a:gd name="T58" fmla="*/ 244 w 452"/>
                    <a:gd name="T59" fmla="*/ 285 h 544"/>
                    <a:gd name="T60" fmla="*/ 251 w 452"/>
                    <a:gd name="T61" fmla="*/ 265 h 544"/>
                    <a:gd name="T62" fmla="*/ 256 w 452"/>
                    <a:gd name="T63" fmla="*/ 242 h 544"/>
                    <a:gd name="T64" fmla="*/ 285 w 452"/>
                    <a:gd name="T65" fmla="*/ 109 h 544"/>
                    <a:gd name="T66" fmla="*/ 289 w 452"/>
                    <a:gd name="T67" fmla="*/ 0 h 544"/>
                    <a:gd name="T68" fmla="*/ 80 w 452"/>
                    <a:gd name="T69" fmla="*/ 314 h 544"/>
                    <a:gd name="T70" fmla="*/ 80 w 452"/>
                    <a:gd name="T71" fmla="*/ 344 h 544"/>
                    <a:gd name="T72" fmla="*/ 80 w 452"/>
                    <a:gd name="T73" fmla="*/ 383 h 544"/>
                    <a:gd name="T74" fmla="*/ 92 w 452"/>
                    <a:gd name="T75" fmla="*/ 332 h 544"/>
                    <a:gd name="T76" fmla="*/ 92 w 452"/>
                    <a:gd name="T77" fmla="*/ 265 h 544"/>
                    <a:gd name="T78" fmla="*/ 80 w 452"/>
                    <a:gd name="T79" fmla="*/ 314 h 5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452" h="544">
                      <a:moveTo>
                        <a:pt x="289" y="0"/>
                      </a:moveTo>
                      <a:cubicBezTo>
                        <a:pt x="290" y="0"/>
                        <a:pt x="291" y="0"/>
                        <a:pt x="293" y="0"/>
                      </a:cubicBezTo>
                      <a:cubicBezTo>
                        <a:pt x="329" y="13"/>
                        <a:pt x="366" y="25"/>
                        <a:pt x="403" y="35"/>
                      </a:cubicBezTo>
                      <a:cubicBezTo>
                        <a:pt x="405" y="50"/>
                        <a:pt x="411" y="63"/>
                        <a:pt x="413" y="78"/>
                      </a:cubicBezTo>
                      <a:cubicBezTo>
                        <a:pt x="414" y="95"/>
                        <a:pt x="413" y="112"/>
                        <a:pt x="414" y="130"/>
                      </a:cubicBezTo>
                      <a:cubicBezTo>
                        <a:pt x="414" y="142"/>
                        <a:pt x="420" y="152"/>
                        <a:pt x="421" y="163"/>
                      </a:cubicBezTo>
                      <a:cubicBezTo>
                        <a:pt x="422" y="185"/>
                        <a:pt x="421" y="205"/>
                        <a:pt x="424" y="225"/>
                      </a:cubicBezTo>
                      <a:cubicBezTo>
                        <a:pt x="429" y="265"/>
                        <a:pt x="441" y="302"/>
                        <a:pt x="446" y="341"/>
                      </a:cubicBezTo>
                      <a:cubicBezTo>
                        <a:pt x="451" y="384"/>
                        <a:pt x="449" y="426"/>
                        <a:pt x="452" y="475"/>
                      </a:cubicBezTo>
                      <a:cubicBezTo>
                        <a:pt x="450" y="480"/>
                        <a:pt x="443" y="472"/>
                        <a:pt x="439" y="471"/>
                      </a:cubicBezTo>
                      <a:cubicBezTo>
                        <a:pt x="424" y="467"/>
                        <a:pt x="404" y="467"/>
                        <a:pt x="395" y="476"/>
                      </a:cubicBezTo>
                      <a:cubicBezTo>
                        <a:pt x="395" y="489"/>
                        <a:pt x="395" y="500"/>
                        <a:pt x="395" y="513"/>
                      </a:cubicBezTo>
                      <a:cubicBezTo>
                        <a:pt x="375" y="513"/>
                        <a:pt x="357" y="519"/>
                        <a:pt x="340" y="517"/>
                      </a:cubicBezTo>
                      <a:cubicBezTo>
                        <a:pt x="312" y="514"/>
                        <a:pt x="301" y="490"/>
                        <a:pt x="289" y="470"/>
                      </a:cubicBezTo>
                      <a:cubicBezTo>
                        <a:pt x="273" y="443"/>
                        <a:pt x="256" y="400"/>
                        <a:pt x="248" y="372"/>
                      </a:cubicBezTo>
                      <a:cubicBezTo>
                        <a:pt x="238" y="428"/>
                        <a:pt x="235" y="489"/>
                        <a:pt x="206" y="527"/>
                      </a:cubicBezTo>
                      <a:cubicBezTo>
                        <a:pt x="171" y="544"/>
                        <a:pt x="108" y="532"/>
                        <a:pt x="70" y="523"/>
                      </a:cubicBezTo>
                      <a:cubicBezTo>
                        <a:pt x="70" y="515"/>
                        <a:pt x="70" y="506"/>
                        <a:pt x="70" y="499"/>
                      </a:cubicBezTo>
                      <a:cubicBezTo>
                        <a:pt x="63" y="501"/>
                        <a:pt x="61" y="490"/>
                        <a:pt x="56" y="486"/>
                      </a:cubicBezTo>
                      <a:cubicBezTo>
                        <a:pt x="35" y="486"/>
                        <a:pt x="19" y="492"/>
                        <a:pt x="4" y="499"/>
                      </a:cubicBezTo>
                      <a:cubicBezTo>
                        <a:pt x="7" y="454"/>
                        <a:pt x="0" y="410"/>
                        <a:pt x="4" y="364"/>
                      </a:cubicBezTo>
                      <a:cubicBezTo>
                        <a:pt x="4" y="350"/>
                        <a:pt x="10" y="336"/>
                        <a:pt x="12" y="322"/>
                      </a:cubicBezTo>
                      <a:cubicBezTo>
                        <a:pt x="14" y="303"/>
                        <a:pt x="14" y="283"/>
                        <a:pt x="16" y="264"/>
                      </a:cubicBezTo>
                      <a:cubicBezTo>
                        <a:pt x="23" y="218"/>
                        <a:pt x="24" y="170"/>
                        <a:pt x="33" y="124"/>
                      </a:cubicBezTo>
                      <a:cubicBezTo>
                        <a:pt x="40" y="97"/>
                        <a:pt x="41" y="69"/>
                        <a:pt x="49" y="44"/>
                      </a:cubicBezTo>
                      <a:cubicBezTo>
                        <a:pt x="67" y="35"/>
                        <a:pt x="87" y="31"/>
                        <a:pt x="107" y="25"/>
                      </a:cubicBezTo>
                      <a:cubicBezTo>
                        <a:pt x="125" y="17"/>
                        <a:pt x="143" y="9"/>
                        <a:pt x="163" y="4"/>
                      </a:cubicBezTo>
                      <a:cubicBezTo>
                        <a:pt x="175" y="54"/>
                        <a:pt x="184" y="105"/>
                        <a:pt x="196" y="153"/>
                      </a:cubicBezTo>
                      <a:cubicBezTo>
                        <a:pt x="205" y="189"/>
                        <a:pt x="217" y="223"/>
                        <a:pt x="228" y="255"/>
                      </a:cubicBezTo>
                      <a:cubicBezTo>
                        <a:pt x="232" y="265"/>
                        <a:pt x="235" y="279"/>
                        <a:pt x="244" y="285"/>
                      </a:cubicBezTo>
                      <a:cubicBezTo>
                        <a:pt x="251" y="280"/>
                        <a:pt x="249" y="271"/>
                        <a:pt x="251" y="265"/>
                      </a:cubicBezTo>
                      <a:cubicBezTo>
                        <a:pt x="252" y="257"/>
                        <a:pt x="253" y="250"/>
                        <a:pt x="256" y="242"/>
                      </a:cubicBezTo>
                      <a:cubicBezTo>
                        <a:pt x="265" y="196"/>
                        <a:pt x="278" y="154"/>
                        <a:pt x="285" y="109"/>
                      </a:cubicBezTo>
                      <a:cubicBezTo>
                        <a:pt x="290" y="75"/>
                        <a:pt x="286" y="35"/>
                        <a:pt x="289" y="0"/>
                      </a:cubicBezTo>
                      <a:close/>
                      <a:moveTo>
                        <a:pt x="80" y="314"/>
                      </a:moveTo>
                      <a:cubicBezTo>
                        <a:pt x="79" y="323"/>
                        <a:pt x="82" y="334"/>
                        <a:pt x="80" y="344"/>
                      </a:cubicBezTo>
                      <a:cubicBezTo>
                        <a:pt x="80" y="356"/>
                        <a:pt x="76" y="370"/>
                        <a:pt x="80" y="383"/>
                      </a:cubicBezTo>
                      <a:cubicBezTo>
                        <a:pt x="84" y="367"/>
                        <a:pt x="88" y="350"/>
                        <a:pt x="92" y="332"/>
                      </a:cubicBezTo>
                      <a:cubicBezTo>
                        <a:pt x="96" y="313"/>
                        <a:pt x="101" y="281"/>
                        <a:pt x="92" y="265"/>
                      </a:cubicBezTo>
                      <a:cubicBezTo>
                        <a:pt x="91" y="284"/>
                        <a:pt x="83" y="297"/>
                        <a:pt x="80" y="314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62" name="Freeform 163">
                  <a:extLst>
                    <a:ext uri="{FF2B5EF4-FFF2-40B4-BE49-F238E27FC236}">
                      <a16:creationId xmlns:a16="http://schemas.microsoft.com/office/drawing/2014/main" id="{9EBB27EA-2D28-4049-B6B6-CB46E8808F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0225" y="1665292"/>
                  <a:ext cx="839790" cy="1258889"/>
                </a:xfrm>
                <a:custGeom>
                  <a:avLst/>
                  <a:gdLst>
                    <a:gd name="T0" fmla="*/ 160 w 224"/>
                    <a:gd name="T1" fmla="*/ 0 h 336"/>
                    <a:gd name="T2" fmla="*/ 161 w 224"/>
                    <a:gd name="T3" fmla="*/ 0 h 336"/>
                    <a:gd name="T4" fmla="*/ 192 w 224"/>
                    <a:gd name="T5" fmla="*/ 20 h 336"/>
                    <a:gd name="T6" fmla="*/ 219 w 224"/>
                    <a:gd name="T7" fmla="*/ 62 h 336"/>
                    <a:gd name="T8" fmla="*/ 202 w 224"/>
                    <a:gd name="T9" fmla="*/ 79 h 336"/>
                    <a:gd name="T10" fmla="*/ 224 w 224"/>
                    <a:gd name="T11" fmla="*/ 101 h 336"/>
                    <a:gd name="T12" fmla="*/ 224 w 224"/>
                    <a:gd name="T13" fmla="*/ 104 h 336"/>
                    <a:gd name="T14" fmla="*/ 122 w 224"/>
                    <a:gd name="T15" fmla="*/ 336 h 336"/>
                    <a:gd name="T16" fmla="*/ 121 w 224"/>
                    <a:gd name="T17" fmla="*/ 308 h 336"/>
                    <a:gd name="T18" fmla="*/ 2 w 224"/>
                    <a:gd name="T19" fmla="*/ 111 h 336"/>
                    <a:gd name="T20" fmla="*/ 17 w 224"/>
                    <a:gd name="T21" fmla="*/ 84 h 336"/>
                    <a:gd name="T22" fmla="*/ 0 w 224"/>
                    <a:gd name="T23" fmla="*/ 65 h 336"/>
                    <a:gd name="T24" fmla="*/ 0 w 224"/>
                    <a:gd name="T25" fmla="*/ 63 h 336"/>
                    <a:gd name="T26" fmla="*/ 48 w 224"/>
                    <a:gd name="T27" fmla="*/ 8 h 336"/>
                    <a:gd name="T28" fmla="*/ 122 w 224"/>
                    <a:gd name="T29" fmla="*/ 293 h 336"/>
                    <a:gd name="T30" fmla="*/ 160 w 224"/>
                    <a:gd name="T31" fmla="*/ 0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24" h="336">
                      <a:moveTo>
                        <a:pt x="160" y="0"/>
                      </a:moveTo>
                      <a:cubicBezTo>
                        <a:pt x="160" y="0"/>
                        <a:pt x="160" y="0"/>
                        <a:pt x="161" y="0"/>
                      </a:cubicBezTo>
                      <a:cubicBezTo>
                        <a:pt x="169" y="9"/>
                        <a:pt x="177" y="18"/>
                        <a:pt x="192" y="20"/>
                      </a:cubicBezTo>
                      <a:cubicBezTo>
                        <a:pt x="200" y="35"/>
                        <a:pt x="210" y="48"/>
                        <a:pt x="219" y="62"/>
                      </a:cubicBezTo>
                      <a:cubicBezTo>
                        <a:pt x="217" y="69"/>
                        <a:pt x="206" y="72"/>
                        <a:pt x="202" y="79"/>
                      </a:cubicBezTo>
                      <a:cubicBezTo>
                        <a:pt x="209" y="87"/>
                        <a:pt x="217" y="95"/>
                        <a:pt x="224" y="101"/>
                      </a:cubicBezTo>
                      <a:cubicBezTo>
                        <a:pt x="224" y="102"/>
                        <a:pt x="224" y="104"/>
                        <a:pt x="224" y="104"/>
                      </a:cubicBezTo>
                      <a:cubicBezTo>
                        <a:pt x="197" y="189"/>
                        <a:pt x="160" y="263"/>
                        <a:pt x="122" y="336"/>
                      </a:cubicBezTo>
                      <a:cubicBezTo>
                        <a:pt x="117" y="333"/>
                        <a:pt x="118" y="315"/>
                        <a:pt x="121" y="308"/>
                      </a:cubicBezTo>
                      <a:cubicBezTo>
                        <a:pt x="77" y="247"/>
                        <a:pt x="35" y="184"/>
                        <a:pt x="2" y="111"/>
                      </a:cubicBezTo>
                      <a:cubicBezTo>
                        <a:pt x="6" y="101"/>
                        <a:pt x="12" y="93"/>
                        <a:pt x="17" y="84"/>
                      </a:cubicBezTo>
                      <a:cubicBezTo>
                        <a:pt x="15" y="76"/>
                        <a:pt x="7" y="72"/>
                        <a:pt x="0" y="65"/>
                      </a:cubicBezTo>
                      <a:cubicBezTo>
                        <a:pt x="0" y="65"/>
                        <a:pt x="0" y="64"/>
                        <a:pt x="0" y="63"/>
                      </a:cubicBezTo>
                      <a:cubicBezTo>
                        <a:pt x="16" y="44"/>
                        <a:pt x="25" y="18"/>
                        <a:pt x="48" y="8"/>
                      </a:cubicBezTo>
                      <a:cubicBezTo>
                        <a:pt x="73" y="104"/>
                        <a:pt x="95" y="200"/>
                        <a:pt x="122" y="293"/>
                      </a:cubicBezTo>
                      <a:cubicBezTo>
                        <a:pt x="136" y="198"/>
                        <a:pt x="164" y="114"/>
                        <a:pt x="160" y="0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63" name="Freeform 164">
                  <a:extLst>
                    <a:ext uri="{FF2B5EF4-FFF2-40B4-BE49-F238E27FC236}">
                      <a16:creationId xmlns:a16="http://schemas.microsoft.com/office/drawing/2014/main" id="{D232776A-6213-4980-A619-06727C1BD9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9611" y="1619255"/>
                  <a:ext cx="165099" cy="330202"/>
                </a:xfrm>
                <a:custGeom>
                  <a:avLst/>
                  <a:gdLst>
                    <a:gd name="T0" fmla="*/ 0 w 44"/>
                    <a:gd name="T1" fmla="*/ 21 h 88"/>
                    <a:gd name="T2" fmla="*/ 0 w 44"/>
                    <a:gd name="T3" fmla="*/ 21 h 88"/>
                    <a:gd name="T4" fmla="*/ 12 w 44"/>
                    <a:gd name="T5" fmla="*/ 0 h 88"/>
                    <a:gd name="T6" fmla="*/ 44 w 44"/>
                    <a:gd name="T7" fmla="*/ 46 h 88"/>
                    <a:gd name="T8" fmla="*/ 19 w 44"/>
                    <a:gd name="T9" fmla="*/ 88 h 88"/>
                    <a:gd name="T10" fmla="*/ 0 w 44"/>
                    <a:gd name="T11" fmla="*/ 21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4" h="88">
                      <a:moveTo>
                        <a:pt x="0" y="21"/>
                      </a:move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8" y="17"/>
                        <a:pt x="6" y="4"/>
                        <a:pt x="12" y="0"/>
                      </a:cubicBezTo>
                      <a:cubicBezTo>
                        <a:pt x="17" y="21"/>
                        <a:pt x="35" y="28"/>
                        <a:pt x="44" y="46"/>
                      </a:cubicBezTo>
                      <a:cubicBezTo>
                        <a:pt x="32" y="56"/>
                        <a:pt x="35" y="82"/>
                        <a:pt x="19" y="88"/>
                      </a:cubicBezTo>
                      <a:cubicBezTo>
                        <a:pt x="11" y="63"/>
                        <a:pt x="8" y="50"/>
                        <a:pt x="0" y="21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64" name="Freeform 165">
                  <a:extLst>
                    <a:ext uri="{FF2B5EF4-FFF2-40B4-BE49-F238E27FC236}">
                      <a16:creationId xmlns:a16="http://schemas.microsoft.com/office/drawing/2014/main" id="{9BCDC375-3A25-4E71-B862-6D41DDC94A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65526" y="1619255"/>
                  <a:ext cx="134939" cy="346075"/>
                </a:xfrm>
                <a:custGeom>
                  <a:avLst/>
                  <a:gdLst>
                    <a:gd name="T0" fmla="*/ 22 w 36"/>
                    <a:gd name="T1" fmla="*/ 0 h 92"/>
                    <a:gd name="T2" fmla="*/ 22 w 36"/>
                    <a:gd name="T3" fmla="*/ 92 h 92"/>
                    <a:gd name="T4" fmla="*/ 0 w 36"/>
                    <a:gd name="T5" fmla="*/ 46 h 92"/>
                    <a:gd name="T6" fmla="*/ 22 w 36"/>
                    <a:gd name="T7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92">
                      <a:moveTo>
                        <a:pt x="22" y="0"/>
                      </a:moveTo>
                      <a:cubicBezTo>
                        <a:pt x="36" y="13"/>
                        <a:pt x="29" y="69"/>
                        <a:pt x="22" y="92"/>
                      </a:cubicBezTo>
                      <a:cubicBezTo>
                        <a:pt x="3" y="91"/>
                        <a:pt x="8" y="55"/>
                        <a:pt x="0" y="46"/>
                      </a:cubicBezTo>
                      <a:cubicBezTo>
                        <a:pt x="4" y="29"/>
                        <a:pt x="22" y="26"/>
                        <a:pt x="22" y="0"/>
                      </a:cubicBezTo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65" name="Freeform 166">
                  <a:extLst>
                    <a:ext uri="{FF2B5EF4-FFF2-40B4-BE49-F238E27FC236}">
                      <a16:creationId xmlns:a16="http://schemas.microsoft.com/office/drawing/2014/main" id="{22C88E4B-357E-4A3F-A49F-A2490D31F7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6274" y="955678"/>
                  <a:ext cx="581026" cy="346075"/>
                </a:xfrm>
                <a:custGeom>
                  <a:avLst/>
                  <a:gdLst>
                    <a:gd name="T0" fmla="*/ 20 w 155"/>
                    <a:gd name="T1" fmla="*/ 49 h 92"/>
                    <a:gd name="T2" fmla="*/ 54 w 155"/>
                    <a:gd name="T3" fmla="*/ 54 h 92"/>
                    <a:gd name="T4" fmla="*/ 98 w 155"/>
                    <a:gd name="T5" fmla="*/ 59 h 92"/>
                    <a:gd name="T6" fmla="*/ 128 w 155"/>
                    <a:gd name="T7" fmla="*/ 67 h 92"/>
                    <a:gd name="T8" fmla="*/ 136 w 155"/>
                    <a:gd name="T9" fmla="*/ 92 h 92"/>
                    <a:gd name="T10" fmla="*/ 105 w 155"/>
                    <a:gd name="T11" fmla="*/ 5 h 92"/>
                    <a:gd name="T12" fmla="*/ 55 w 155"/>
                    <a:gd name="T13" fmla="*/ 4 h 92"/>
                    <a:gd name="T14" fmla="*/ 24 w 155"/>
                    <a:gd name="T15" fmla="*/ 21 h 92"/>
                    <a:gd name="T16" fmla="*/ 0 w 155"/>
                    <a:gd name="T17" fmla="*/ 45 h 92"/>
                    <a:gd name="T18" fmla="*/ 6 w 155"/>
                    <a:gd name="T19" fmla="*/ 91 h 92"/>
                    <a:gd name="T20" fmla="*/ 7 w 155"/>
                    <a:gd name="T21" fmla="*/ 91 h 92"/>
                    <a:gd name="T22" fmla="*/ 20 w 155"/>
                    <a:gd name="T23" fmla="*/ 49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5" h="92">
                      <a:moveTo>
                        <a:pt x="20" y="49"/>
                      </a:moveTo>
                      <a:cubicBezTo>
                        <a:pt x="28" y="48"/>
                        <a:pt x="33" y="47"/>
                        <a:pt x="54" y="54"/>
                      </a:cubicBezTo>
                      <a:cubicBezTo>
                        <a:pt x="75" y="60"/>
                        <a:pt x="90" y="69"/>
                        <a:pt x="98" y="59"/>
                      </a:cubicBezTo>
                      <a:cubicBezTo>
                        <a:pt x="107" y="49"/>
                        <a:pt x="127" y="62"/>
                        <a:pt x="128" y="67"/>
                      </a:cubicBezTo>
                      <a:cubicBezTo>
                        <a:pt x="130" y="73"/>
                        <a:pt x="136" y="92"/>
                        <a:pt x="136" y="92"/>
                      </a:cubicBezTo>
                      <a:cubicBezTo>
                        <a:pt x="155" y="54"/>
                        <a:pt x="132" y="19"/>
                        <a:pt x="105" y="5"/>
                      </a:cubicBezTo>
                      <a:cubicBezTo>
                        <a:pt x="86" y="5"/>
                        <a:pt x="69" y="0"/>
                        <a:pt x="55" y="4"/>
                      </a:cubicBezTo>
                      <a:cubicBezTo>
                        <a:pt x="43" y="6"/>
                        <a:pt x="34" y="15"/>
                        <a:pt x="24" y="21"/>
                      </a:cubicBezTo>
                      <a:cubicBezTo>
                        <a:pt x="15" y="29"/>
                        <a:pt x="4" y="35"/>
                        <a:pt x="0" y="45"/>
                      </a:cubicBezTo>
                      <a:cubicBezTo>
                        <a:pt x="1" y="62"/>
                        <a:pt x="1" y="77"/>
                        <a:pt x="6" y="91"/>
                      </a:cubicBezTo>
                      <a:cubicBezTo>
                        <a:pt x="7" y="91"/>
                        <a:pt x="7" y="91"/>
                        <a:pt x="7" y="91"/>
                      </a:cubicBezTo>
                      <a:cubicBezTo>
                        <a:pt x="9" y="82"/>
                        <a:pt x="14" y="51"/>
                        <a:pt x="20" y="49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66" name="Freeform 167">
                  <a:extLst>
                    <a:ext uri="{FF2B5EF4-FFF2-40B4-BE49-F238E27FC236}">
                      <a16:creationId xmlns:a16="http://schemas.microsoft.com/office/drawing/2014/main" id="{2B3F99D6-A28C-4C19-A9E4-509C0F38EE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6312" y="2133606"/>
                  <a:ext cx="71438" cy="96838"/>
                </a:xfrm>
                <a:custGeom>
                  <a:avLst/>
                  <a:gdLst>
                    <a:gd name="T0" fmla="*/ 5 w 19"/>
                    <a:gd name="T1" fmla="*/ 10 h 26"/>
                    <a:gd name="T2" fmla="*/ 11 w 19"/>
                    <a:gd name="T3" fmla="*/ 2 h 26"/>
                    <a:gd name="T4" fmla="*/ 15 w 19"/>
                    <a:gd name="T5" fmla="*/ 10 h 26"/>
                    <a:gd name="T6" fmla="*/ 0 w 19"/>
                    <a:gd name="T7" fmla="*/ 22 h 26"/>
                    <a:gd name="T8" fmla="*/ 5 w 19"/>
                    <a:gd name="T9" fmla="*/ 1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26">
                      <a:moveTo>
                        <a:pt x="5" y="10"/>
                      </a:moveTo>
                      <a:cubicBezTo>
                        <a:pt x="9" y="6"/>
                        <a:pt x="5" y="0"/>
                        <a:pt x="11" y="2"/>
                      </a:cubicBezTo>
                      <a:cubicBezTo>
                        <a:pt x="16" y="4"/>
                        <a:pt x="19" y="5"/>
                        <a:pt x="15" y="10"/>
                      </a:cubicBezTo>
                      <a:cubicBezTo>
                        <a:pt x="11" y="16"/>
                        <a:pt x="0" y="26"/>
                        <a:pt x="0" y="22"/>
                      </a:cubicBezTo>
                      <a:cubicBezTo>
                        <a:pt x="0" y="19"/>
                        <a:pt x="5" y="10"/>
                        <a:pt x="5" y="1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67" name="Freeform 168">
                  <a:extLst>
                    <a:ext uri="{FF2B5EF4-FFF2-40B4-BE49-F238E27FC236}">
                      <a16:creationId xmlns:a16="http://schemas.microsoft.com/office/drawing/2014/main" id="{17E7BE99-CE67-4F69-A93F-5B92FD8652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7261" y="2354269"/>
                  <a:ext cx="71438" cy="93661"/>
                </a:xfrm>
                <a:custGeom>
                  <a:avLst/>
                  <a:gdLst>
                    <a:gd name="T0" fmla="*/ 6 w 19"/>
                    <a:gd name="T1" fmla="*/ 10 h 25"/>
                    <a:gd name="T2" fmla="*/ 11 w 19"/>
                    <a:gd name="T3" fmla="*/ 2 h 25"/>
                    <a:gd name="T4" fmla="*/ 15 w 19"/>
                    <a:gd name="T5" fmla="*/ 10 h 25"/>
                    <a:gd name="T6" fmla="*/ 0 w 19"/>
                    <a:gd name="T7" fmla="*/ 22 h 25"/>
                    <a:gd name="T8" fmla="*/ 6 w 19"/>
                    <a:gd name="T9" fmla="*/ 1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25">
                      <a:moveTo>
                        <a:pt x="6" y="10"/>
                      </a:moveTo>
                      <a:cubicBezTo>
                        <a:pt x="9" y="5"/>
                        <a:pt x="6" y="0"/>
                        <a:pt x="11" y="2"/>
                      </a:cubicBezTo>
                      <a:cubicBezTo>
                        <a:pt x="16" y="4"/>
                        <a:pt x="19" y="4"/>
                        <a:pt x="15" y="10"/>
                      </a:cubicBezTo>
                      <a:cubicBezTo>
                        <a:pt x="11" y="15"/>
                        <a:pt x="0" y="25"/>
                        <a:pt x="0" y="22"/>
                      </a:cubicBezTo>
                      <a:cubicBezTo>
                        <a:pt x="0" y="19"/>
                        <a:pt x="6" y="10"/>
                        <a:pt x="6" y="1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68" name="Freeform 169">
                  <a:extLst>
                    <a:ext uri="{FF2B5EF4-FFF2-40B4-BE49-F238E27FC236}">
                      <a16:creationId xmlns:a16="http://schemas.microsoft.com/office/drawing/2014/main" id="{EE5319EA-81F1-43ED-9FBA-B1196E6DF1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7349" y="2073282"/>
                  <a:ext cx="49214" cy="630240"/>
                </a:xfrm>
                <a:custGeom>
                  <a:avLst/>
                  <a:gdLst>
                    <a:gd name="T0" fmla="*/ 10 w 13"/>
                    <a:gd name="T1" fmla="*/ 168 h 168"/>
                    <a:gd name="T2" fmla="*/ 6 w 13"/>
                    <a:gd name="T3" fmla="*/ 39 h 168"/>
                    <a:gd name="T4" fmla="*/ 6 w 13"/>
                    <a:gd name="T5" fmla="*/ 10 h 168"/>
                    <a:gd name="T6" fmla="*/ 13 w 13"/>
                    <a:gd name="T7" fmla="*/ 10 h 168"/>
                    <a:gd name="T8" fmla="*/ 10 w 13"/>
                    <a:gd name="T9" fmla="*/ 168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68">
                      <a:moveTo>
                        <a:pt x="10" y="168"/>
                      </a:moveTo>
                      <a:cubicBezTo>
                        <a:pt x="10" y="168"/>
                        <a:pt x="11" y="61"/>
                        <a:pt x="6" y="39"/>
                      </a:cubicBezTo>
                      <a:cubicBezTo>
                        <a:pt x="0" y="17"/>
                        <a:pt x="2" y="10"/>
                        <a:pt x="6" y="10"/>
                      </a:cubicBezTo>
                      <a:cubicBezTo>
                        <a:pt x="10" y="10"/>
                        <a:pt x="13" y="0"/>
                        <a:pt x="13" y="10"/>
                      </a:cubicBezTo>
                      <a:cubicBezTo>
                        <a:pt x="13" y="20"/>
                        <a:pt x="10" y="168"/>
                        <a:pt x="10" y="168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69" name="Freeform 170">
                  <a:extLst>
                    <a:ext uri="{FF2B5EF4-FFF2-40B4-BE49-F238E27FC236}">
                      <a16:creationId xmlns:a16="http://schemas.microsoft.com/office/drawing/2014/main" id="{D43F754C-4262-4CD6-8A25-845BB5A6DB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6853" y="2106619"/>
                  <a:ext cx="98425" cy="1320804"/>
                </a:xfrm>
                <a:custGeom>
                  <a:avLst/>
                  <a:gdLst>
                    <a:gd name="T0" fmla="*/ 26 w 26"/>
                    <a:gd name="T1" fmla="*/ 352 h 352"/>
                    <a:gd name="T2" fmla="*/ 7 w 26"/>
                    <a:gd name="T3" fmla="*/ 213 h 352"/>
                    <a:gd name="T4" fmla="*/ 7 w 26"/>
                    <a:gd name="T5" fmla="*/ 145 h 352"/>
                    <a:gd name="T6" fmla="*/ 0 w 26"/>
                    <a:gd name="T7" fmla="*/ 30 h 352"/>
                    <a:gd name="T8" fmla="*/ 10 w 26"/>
                    <a:gd name="T9" fmla="*/ 0 h 352"/>
                    <a:gd name="T10" fmla="*/ 10 w 26"/>
                    <a:gd name="T11" fmla="*/ 6 h 352"/>
                    <a:gd name="T12" fmla="*/ 26 w 26"/>
                    <a:gd name="T13" fmla="*/ 352 h 3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352">
                      <a:moveTo>
                        <a:pt x="26" y="352"/>
                      </a:moveTo>
                      <a:cubicBezTo>
                        <a:pt x="26" y="347"/>
                        <a:pt x="8" y="236"/>
                        <a:pt x="7" y="213"/>
                      </a:cubicBezTo>
                      <a:cubicBezTo>
                        <a:pt x="6" y="189"/>
                        <a:pt x="9" y="165"/>
                        <a:pt x="7" y="145"/>
                      </a:cubicBezTo>
                      <a:cubicBezTo>
                        <a:pt x="5" y="126"/>
                        <a:pt x="0" y="48"/>
                        <a:pt x="0" y="30"/>
                      </a:cubicBezTo>
                      <a:cubicBezTo>
                        <a:pt x="1" y="12"/>
                        <a:pt x="10" y="0"/>
                        <a:pt x="10" y="0"/>
                      </a:cubicBezTo>
                      <a:cubicBezTo>
                        <a:pt x="10" y="6"/>
                        <a:pt x="10" y="6"/>
                        <a:pt x="10" y="6"/>
                      </a:cubicBezTo>
                      <a:lnTo>
                        <a:pt x="26" y="352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0" name="Freeform 171">
                  <a:extLst>
                    <a:ext uri="{FF2B5EF4-FFF2-40B4-BE49-F238E27FC236}">
                      <a16:creationId xmlns:a16="http://schemas.microsoft.com/office/drawing/2014/main" id="{F7222847-FA8D-458F-A8BC-316E6473FC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0476" y="3135321"/>
                  <a:ext cx="222250" cy="58738"/>
                </a:xfrm>
                <a:custGeom>
                  <a:avLst/>
                  <a:gdLst>
                    <a:gd name="T0" fmla="*/ 0 w 59"/>
                    <a:gd name="T1" fmla="*/ 16 h 16"/>
                    <a:gd name="T2" fmla="*/ 52 w 59"/>
                    <a:gd name="T3" fmla="*/ 7 h 16"/>
                    <a:gd name="T4" fmla="*/ 59 w 59"/>
                    <a:gd name="T5" fmla="*/ 7 h 16"/>
                    <a:gd name="T6" fmla="*/ 0 w 59"/>
                    <a:gd name="T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9" h="16">
                      <a:moveTo>
                        <a:pt x="0" y="16"/>
                      </a:moveTo>
                      <a:cubicBezTo>
                        <a:pt x="0" y="16"/>
                        <a:pt x="49" y="13"/>
                        <a:pt x="52" y="7"/>
                      </a:cubicBezTo>
                      <a:cubicBezTo>
                        <a:pt x="55" y="0"/>
                        <a:pt x="59" y="3"/>
                        <a:pt x="59" y="7"/>
                      </a:cubicBezTo>
                      <a:cubicBezTo>
                        <a:pt x="58" y="11"/>
                        <a:pt x="0" y="16"/>
                        <a:pt x="0" y="16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1" name="Freeform 172">
                  <a:extLst>
                    <a:ext uri="{FF2B5EF4-FFF2-40B4-BE49-F238E27FC236}">
                      <a16:creationId xmlns:a16="http://schemas.microsoft.com/office/drawing/2014/main" id="{6432BD78-596B-466A-A2F9-C2DBF48936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57627" y="3224223"/>
                  <a:ext cx="198440" cy="282574"/>
                </a:xfrm>
                <a:custGeom>
                  <a:avLst/>
                  <a:gdLst>
                    <a:gd name="T0" fmla="*/ 44 w 53"/>
                    <a:gd name="T1" fmla="*/ 0 h 75"/>
                    <a:gd name="T2" fmla="*/ 53 w 53"/>
                    <a:gd name="T3" fmla="*/ 75 h 75"/>
                    <a:gd name="T4" fmla="*/ 24 w 53"/>
                    <a:gd name="T5" fmla="*/ 75 h 75"/>
                    <a:gd name="T6" fmla="*/ 14 w 53"/>
                    <a:gd name="T7" fmla="*/ 69 h 75"/>
                    <a:gd name="T8" fmla="*/ 34 w 53"/>
                    <a:gd name="T9" fmla="*/ 61 h 75"/>
                    <a:gd name="T10" fmla="*/ 22 w 53"/>
                    <a:gd name="T11" fmla="*/ 38 h 75"/>
                    <a:gd name="T12" fmla="*/ 44 w 53"/>
                    <a:gd name="T13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3" h="75">
                      <a:moveTo>
                        <a:pt x="44" y="0"/>
                      </a:moveTo>
                      <a:cubicBezTo>
                        <a:pt x="53" y="75"/>
                        <a:pt x="53" y="75"/>
                        <a:pt x="53" y="75"/>
                      </a:cubicBezTo>
                      <a:cubicBezTo>
                        <a:pt x="24" y="75"/>
                        <a:pt x="24" y="75"/>
                        <a:pt x="24" y="75"/>
                      </a:cubicBezTo>
                      <a:cubicBezTo>
                        <a:pt x="24" y="75"/>
                        <a:pt x="0" y="69"/>
                        <a:pt x="14" y="69"/>
                      </a:cubicBezTo>
                      <a:cubicBezTo>
                        <a:pt x="29" y="68"/>
                        <a:pt x="42" y="73"/>
                        <a:pt x="34" y="61"/>
                      </a:cubicBezTo>
                      <a:cubicBezTo>
                        <a:pt x="27" y="48"/>
                        <a:pt x="6" y="41"/>
                        <a:pt x="22" y="38"/>
                      </a:cubicBezTo>
                      <a:cubicBezTo>
                        <a:pt x="38" y="34"/>
                        <a:pt x="44" y="0"/>
                        <a:pt x="44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2" name="Freeform 173">
                  <a:extLst>
                    <a:ext uri="{FF2B5EF4-FFF2-40B4-BE49-F238E27FC236}">
                      <a16:creationId xmlns:a16="http://schemas.microsoft.com/office/drawing/2014/main" id="{009ADB40-939B-48CF-853B-EC98129B78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9122" y="2576519"/>
                  <a:ext cx="60324" cy="490537"/>
                </a:xfrm>
                <a:custGeom>
                  <a:avLst/>
                  <a:gdLst>
                    <a:gd name="T0" fmla="*/ 0 w 38"/>
                    <a:gd name="T1" fmla="*/ 0 h 309"/>
                    <a:gd name="T2" fmla="*/ 29 w 38"/>
                    <a:gd name="T3" fmla="*/ 309 h 309"/>
                    <a:gd name="T4" fmla="*/ 38 w 38"/>
                    <a:gd name="T5" fmla="*/ 293 h 309"/>
                    <a:gd name="T6" fmla="*/ 0 w 38"/>
                    <a:gd name="T7" fmla="*/ 0 h 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8" h="309">
                      <a:moveTo>
                        <a:pt x="0" y="0"/>
                      </a:moveTo>
                      <a:lnTo>
                        <a:pt x="29" y="309"/>
                      </a:lnTo>
                      <a:lnTo>
                        <a:pt x="38" y="29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3" name="Freeform 174">
                  <a:extLst>
                    <a:ext uri="{FF2B5EF4-FFF2-40B4-BE49-F238E27FC236}">
                      <a16:creationId xmlns:a16="http://schemas.microsoft.com/office/drawing/2014/main" id="{42D23301-5A8D-45E7-A372-CB61D62B34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7833" y="3157549"/>
                  <a:ext cx="288924" cy="93661"/>
                </a:xfrm>
                <a:custGeom>
                  <a:avLst/>
                  <a:gdLst>
                    <a:gd name="T0" fmla="*/ 0 w 77"/>
                    <a:gd name="T1" fmla="*/ 0 h 25"/>
                    <a:gd name="T2" fmla="*/ 75 w 77"/>
                    <a:gd name="T3" fmla="*/ 10 h 25"/>
                    <a:gd name="T4" fmla="*/ 68 w 77"/>
                    <a:gd name="T5" fmla="*/ 25 h 25"/>
                    <a:gd name="T6" fmla="*/ 0 w 77"/>
                    <a:gd name="T7" fmla="*/ 12 h 25"/>
                    <a:gd name="T8" fmla="*/ 0 w 77"/>
                    <a:gd name="T9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7" h="25">
                      <a:moveTo>
                        <a:pt x="0" y="0"/>
                      </a:moveTo>
                      <a:cubicBezTo>
                        <a:pt x="0" y="0"/>
                        <a:pt x="73" y="9"/>
                        <a:pt x="75" y="10"/>
                      </a:cubicBezTo>
                      <a:cubicBezTo>
                        <a:pt x="77" y="11"/>
                        <a:pt x="68" y="25"/>
                        <a:pt x="68" y="25"/>
                      </a:cubicBezTo>
                      <a:cubicBezTo>
                        <a:pt x="0" y="12"/>
                        <a:pt x="0" y="12"/>
                        <a:pt x="0" y="1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4" name="Freeform 175">
                  <a:extLst>
                    <a:ext uri="{FF2B5EF4-FFF2-40B4-BE49-F238E27FC236}">
                      <a16:creationId xmlns:a16="http://schemas.microsoft.com/office/drawing/2014/main" id="{A1ECE114-298E-48B6-A609-B4EB56CD53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7833" y="3333761"/>
                  <a:ext cx="242887" cy="236537"/>
                </a:xfrm>
                <a:custGeom>
                  <a:avLst/>
                  <a:gdLst>
                    <a:gd name="T0" fmla="*/ 65 w 65"/>
                    <a:gd name="T1" fmla="*/ 0 h 63"/>
                    <a:gd name="T2" fmla="*/ 50 w 65"/>
                    <a:gd name="T3" fmla="*/ 60 h 63"/>
                    <a:gd name="T4" fmla="*/ 9 w 65"/>
                    <a:gd name="T5" fmla="*/ 52 h 63"/>
                    <a:gd name="T6" fmla="*/ 18 w 65"/>
                    <a:gd name="T7" fmla="*/ 46 h 63"/>
                    <a:gd name="T8" fmla="*/ 49 w 65"/>
                    <a:gd name="T9" fmla="*/ 46 h 63"/>
                    <a:gd name="T10" fmla="*/ 65 w 65"/>
                    <a:gd name="T11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5" h="63">
                      <a:moveTo>
                        <a:pt x="65" y="0"/>
                      </a:moveTo>
                      <a:cubicBezTo>
                        <a:pt x="50" y="60"/>
                        <a:pt x="50" y="60"/>
                        <a:pt x="50" y="60"/>
                      </a:cubicBezTo>
                      <a:cubicBezTo>
                        <a:pt x="9" y="52"/>
                        <a:pt x="9" y="52"/>
                        <a:pt x="9" y="52"/>
                      </a:cubicBezTo>
                      <a:cubicBezTo>
                        <a:pt x="9" y="52"/>
                        <a:pt x="0" y="47"/>
                        <a:pt x="18" y="46"/>
                      </a:cubicBezTo>
                      <a:cubicBezTo>
                        <a:pt x="36" y="46"/>
                        <a:pt x="48" y="63"/>
                        <a:pt x="49" y="46"/>
                      </a:cubicBezTo>
                      <a:cubicBezTo>
                        <a:pt x="50" y="30"/>
                        <a:pt x="65" y="0"/>
                        <a:pt x="65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5" name="Freeform 176">
                  <a:extLst>
                    <a:ext uri="{FF2B5EF4-FFF2-40B4-BE49-F238E27FC236}">
                      <a16:creationId xmlns:a16="http://schemas.microsoft.com/office/drawing/2014/main" id="{49CF23C4-7988-44C0-85A8-290D4CEC27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70183" y="2201870"/>
                  <a:ext cx="41274" cy="168276"/>
                </a:xfrm>
                <a:custGeom>
                  <a:avLst/>
                  <a:gdLst>
                    <a:gd name="T0" fmla="*/ 0 w 11"/>
                    <a:gd name="T1" fmla="*/ 0 h 45"/>
                    <a:gd name="T2" fmla="*/ 0 w 11"/>
                    <a:gd name="T3" fmla="*/ 21 h 45"/>
                    <a:gd name="T4" fmla="*/ 2 w 11"/>
                    <a:gd name="T5" fmla="*/ 42 h 45"/>
                    <a:gd name="T6" fmla="*/ 10 w 11"/>
                    <a:gd name="T7" fmla="*/ 5 h 45"/>
                    <a:gd name="T8" fmla="*/ 0 w 11"/>
                    <a:gd name="T9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45">
                      <a:moveTo>
                        <a:pt x="0" y="0"/>
                      </a:moveTo>
                      <a:cubicBezTo>
                        <a:pt x="0" y="5"/>
                        <a:pt x="0" y="13"/>
                        <a:pt x="0" y="21"/>
                      </a:cubicBezTo>
                      <a:cubicBezTo>
                        <a:pt x="1" y="31"/>
                        <a:pt x="2" y="41"/>
                        <a:pt x="2" y="42"/>
                      </a:cubicBezTo>
                      <a:cubicBezTo>
                        <a:pt x="4" y="45"/>
                        <a:pt x="11" y="8"/>
                        <a:pt x="10" y="5"/>
                      </a:cubicBezTo>
                      <a:cubicBezTo>
                        <a:pt x="8" y="2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6" name="Freeform 177">
                  <a:extLst>
                    <a:ext uri="{FF2B5EF4-FFF2-40B4-BE49-F238E27FC236}">
                      <a16:creationId xmlns:a16="http://schemas.microsoft.com/office/drawing/2014/main" id="{B3B8E7D1-3589-4EEA-AC4F-43BED063C5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71758" y="2786069"/>
                  <a:ext cx="150812" cy="352425"/>
                </a:xfrm>
                <a:custGeom>
                  <a:avLst/>
                  <a:gdLst>
                    <a:gd name="T0" fmla="*/ 0 w 40"/>
                    <a:gd name="T1" fmla="*/ 0 h 94"/>
                    <a:gd name="T2" fmla="*/ 20 w 40"/>
                    <a:gd name="T3" fmla="*/ 64 h 94"/>
                    <a:gd name="T4" fmla="*/ 36 w 40"/>
                    <a:gd name="T5" fmla="*/ 82 h 94"/>
                    <a:gd name="T6" fmla="*/ 14 w 40"/>
                    <a:gd name="T7" fmla="*/ 26 h 94"/>
                    <a:gd name="T8" fmla="*/ 0 w 40"/>
                    <a:gd name="T9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94">
                      <a:moveTo>
                        <a:pt x="0" y="0"/>
                      </a:moveTo>
                      <a:cubicBezTo>
                        <a:pt x="0" y="0"/>
                        <a:pt x="12" y="47"/>
                        <a:pt x="20" y="64"/>
                      </a:cubicBezTo>
                      <a:cubicBezTo>
                        <a:pt x="28" y="82"/>
                        <a:pt x="40" y="94"/>
                        <a:pt x="36" y="82"/>
                      </a:cubicBezTo>
                      <a:cubicBezTo>
                        <a:pt x="32" y="69"/>
                        <a:pt x="20" y="36"/>
                        <a:pt x="14" y="26"/>
                      </a:cubicBezTo>
                      <a:cubicBezTo>
                        <a:pt x="9" y="15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7" name="Freeform 178">
                  <a:extLst>
                    <a:ext uri="{FF2B5EF4-FFF2-40B4-BE49-F238E27FC236}">
                      <a16:creationId xmlns:a16="http://schemas.microsoft.com/office/drawing/2014/main" id="{73D69E24-A7D3-4667-9F3B-522DFCBF42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9736" y="2860684"/>
                  <a:ext cx="49214" cy="247650"/>
                </a:xfrm>
                <a:custGeom>
                  <a:avLst/>
                  <a:gdLst>
                    <a:gd name="T0" fmla="*/ 0 w 13"/>
                    <a:gd name="T1" fmla="*/ 0 h 66"/>
                    <a:gd name="T2" fmla="*/ 10 w 13"/>
                    <a:gd name="T3" fmla="*/ 31 h 66"/>
                    <a:gd name="T4" fmla="*/ 6 w 13"/>
                    <a:gd name="T5" fmla="*/ 50 h 66"/>
                    <a:gd name="T6" fmla="*/ 0 w 13"/>
                    <a:gd name="T7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66">
                      <a:moveTo>
                        <a:pt x="0" y="0"/>
                      </a:moveTo>
                      <a:cubicBezTo>
                        <a:pt x="0" y="0"/>
                        <a:pt x="13" y="15"/>
                        <a:pt x="10" y="31"/>
                      </a:cubicBezTo>
                      <a:cubicBezTo>
                        <a:pt x="8" y="47"/>
                        <a:pt x="5" y="66"/>
                        <a:pt x="6" y="50"/>
                      </a:cubicBezTo>
                      <a:cubicBezTo>
                        <a:pt x="6" y="35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8" name="Freeform 188">
                  <a:extLst>
                    <a:ext uri="{FF2B5EF4-FFF2-40B4-BE49-F238E27FC236}">
                      <a16:creationId xmlns:a16="http://schemas.microsoft.com/office/drawing/2014/main" id="{33DCA861-3254-4FB8-A49D-347EC60435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01994" y="1544640"/>
                  <a:ext cx="349252" cy="131762"/>
                </a:xfrm>
                <a:custGeom>
                  <a:avLst/>
                  <a:gdLst>
                    <a:gd name="T0" fmla="*/ 0 w 93"/>
                    <a:gd name="T1" fmla="*/ 0 h 35"/>
                    <a:gd name="T2" fmla="*/ 33 w 93"/>
                    <a:gd name="T3" fmla="*/ 29 h 35"/>
                    <a:gd name="T4" fmla="*/ 68 w 93"/>
                    <a:gd name="T5" fmla="*/ 24 h 35"/>
                    <a:gd name="T6" fmla="*/ 85 w 93"/>
                    <a:gd name="T7" fmla="*/ 7 h 35"/>
                    <a:gd name="T8" fmla="*/ 92 w 93"/>
                    <a:gd name="T9" fmla="*/ 6 h 35"/>
                    <a:gd name="T10" fmla="*/ 85 w 93"/>
                    <a:gd name="T11" fmla="*/ 19 h 35"/>
                    <a:gd name="T12" fmla="*/ 67 w 93"/>
                    <a:gd name="T13" fmla="*/ 32 h 35"/>
                    <a:gd name="T14" fmla="*/ 28 w 93"/>
                    <a:gd name="T15" fmla="*/ 32 h 35"/>
                    <a:gd name="T16" fmla="*/ 0 w 93"/>
                    <a:gd name="T17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3" h="35">
                      <a:moveTo>
                        <a:pt x="0" y="0"/>
                      </a:moveTo>
                      <a:cubicBezTo>
                        <a:pt x="2" y="4"/>
                        <a:pt x="21" y="25"/>
                        <a:pt x="33" y="29"/>
                      </a:cubicBezTo>
                      <a:cubicBezTo>
                        <a:pt x="45" y="32"/>
                        <a:pt x="63" y="29"/>
                        <a:pt x="68" y="24"/>
                      </a:cubicBezTo>
                      <a:cubicBezTo>
                        <a:pt x="73" y="19"/>
                        <a:pt x="84" y="9"/>
                        <a:pt x="85" y="7"/>
                      </a:cubicBezTo>
                      <a:cubicBezTo>
                        <a:pt x="86" y="5"/>
                        <a:pt x="93" y="1"/>
                        <a:pt x="92" y="6"/>
                      </a:cubicBezTo>
                      <a:cubicBezTo>
                        <a:pt x="91" y="10"/>
                        <a:pt x="89" y="14"/>
                        <a:pt x="85" y="19"/>
                      </a:cubicBezTo>
                      <a:cubicBezTo>
                        <a:pt x="82" y="24"/>
                        <a:pt x="75" y="33"/>
                        <a:pt x="67" y="32"/>
                      </a:cubicBezTo>
                      <a:cubicBezTo>
                        <a:pt x="58" y="32"/>
                        <a:pt x="36" y="35"/>
                        <a:pt x="28" y="32"/>
                      </a:cubicBezTo>
                      <a:cubicBezTo>
                        <a:pt x="19" y="3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9" name="Freeform 103">
                  <a:extLst>
                    <a:ext uri="{FF2B5EF4-FFF2-40B4-BE49-F238E27FC236}">
                      <a16:creationId xmlns:a16="http://schemas.microsoft.com/office/drawing/2014/main" id="{2AEED33F-8394-45C2-B024-BE79D46D5A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53697" y="1061826"/>
                  <a:ext cx="226796" cy="66888"/>
                </a:xfrm>
                <a:custGeom>
                  <a:avLst/>
                  <a:gdLst>
                    <a:gd name="T0" fmla="*/ 9 w 49"/>
                    <a:gd name="T1" fmla="*/ 1 h 23"/>
                    <a:gd name="T2" fmla="*/ 24 w 49"/>
                    <a:gd name="T3" fmla="*/ 8 h 23"/>
                    <a:gd name="T4" fmla="*/ 31 w 49"/>
                    <a:gd name="T5" fmla="*/ 7 h 23"/>
                    <a:gd name="T6" fmla="*/ 44 w 49"/>
                    <a:gd name="T7" fmla="*/ 17 h 23"/>
                    <a:gd name="T8" fmla="*/ 37 w 49"/>
                    <a:gd name="T9" fmla="*/ 17 h 23"/>
                    <a:gd name="T10" fmla="*/ 13 w 49"/>
                    <a:gd name="T11" fmla="*/ 10 h 23"/>
                    <a:gd name="T12" fmla="*/ 9 w 49"/>
                    <a:gd name="T13" fmla="*/ 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9" h="23">
                      <a:moveTo>
                        <a:pt x="9" y="1"/>
                      </a:moveTo>
                      <a:cubicBezTo>
                        <a:pt x="9" y="1"/>
                        <a:pt x="20" y="7"/>
                        <a:pt x="24" y="8"/>
                      </a:cubicBezTo>
                      <a:cubicBezTo>
                        <a:pt x="28" y="9"/>
                        <a:pt x="31" y="9"/>
                        <a:pt x="31" y="7"/>
                      </a:cubicBezTo>
                      <a:cubicBezTo>
                        <a:pt x="31" y="4"/>
                        <a:pt x="40" y="11"/>
                        <a:pt x="44" y="17"/>
                      </a:cubicBezTo>
                      <a:cubicBezTo>
                        <a:pt x="49" y="23"/>
                        <a:pt x="44" y="21"/>
                        <a:pt x="37" y="17"/>
                      </a:cubicBezTo>
                      <a:cubicBezTo>
                        <a:pt x="30" y="13"/>
                        <a:pt x="20" y="15"/>
                        <a:pt x="13" y="10"/>
                      </a:cubicBezTo>
                      <a:cubicBezTo>
                        <a:pt x="6" y="5"/>
                        <a:pt x="0" y="0"/>
                        <a:pt x="9" y="1"/>
                      </a:cubicBez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0" name="Freeform 104">
                  <a:extLst>
                    <a:ext uri="{FF2B5EF4-FFF2-40B4-BE49-F238E27FC236}">
                      <a16:creationId xmlns:a16="http://schemas.microsoft.com/office/drawing/2014/main" id="{FBB8863D-DF65-4FAA-8E05-F780667BD2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8643239">
                  <a:off x="3555600" y="1040771"/>
                  <a:ext cx="87944" cy="175885"/>
                </a:xfrm>
                <a:custGeom>
                  <a:avLst/>
                  <a:gdLst>
                    <a:gd name="T0" fmla="*/ 12 w 30"/>
                    <a:gd name="T1" fmla="*/ 25 h 60"/>
                    <a:gd name="T2" fmla="*/ 20 w 30"/>
                    <a:gd name="T3" fmla="*/ 19 h 60"/>
                    <a:gd name="T4" fmla="*/ 22 w 30"/>
                    <a:gd name="T5" fmla="*/ 4 h 60"/>
                    <a:gd name="T6" fmla="*/ 24 w 30"/>
                    <a:gd name="T7" fmla="*/ 26 h 60"/>
                    <a:gd name="T8" fmla="*/ 21 w 30"/>
                    <a:gd name="T9" fmla="*/ 37 h 60"/>
                    <a:gd name="T10" fmla="*/ 14 w 30"/>
                    <a:gd name="T11" fmla="*/ 48 h 60"/>
                    <a:gd name="T12" fmla="*/ 8 w 30"/>
                    <a:gd name="T13" fmla="*/ 35 h 60"/>
                    <a:gd name="T14" fmla="*/ 12 w 30"/>
                    <a:gd name="T15" fmla="*/ 25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0" h="60">
                      <a:moveTo>
                        <a:pt x="12" y="25"/>
                      </a:moveTo>
                      <a:cubicBezTo>
                        <a:pt x="12" y="25"/>
                        <a:pt x="17" y="24"/>
                        <a:pt x="20" y="19"/>
                      </a:cubicBezTo>
                      <a:cubicBezTo>
                        <a:pt x="24" y="14"/>
                        <a:pt x="22" y="8"/>
                        <a:pt x="22" y="4"/>
                      </a:cubicBezTo>
                      <a:cubicBezTo>
                        <a:pt x="21" y="0"/>
                        <a:pt x="30" y="16"/>
                        <a:pt x="24" y="26"/>
                      </a:cubicBezTo>
                      <a:cubicBezTo>
                        <a:pt x="24" y="26"/>
                        <a:pt x="21" y="34"/>
                        <a:pt x="21" y="37"/>
                      </a:cubicBezTo>
                      <a:cubicBezTo>
                        <a:pt x="21" y="40"/>
                        <a:pt x="20" y="46"/>
                        <a:pt x="14" y="48"/>
                      </a:cubicBezTo>
                      <a:cubicBezTo>
                        <a:pt x="8" y="50"/>
                        <a:pt x="0" y="60"/>
                        <a:pt x="8" y="35"/>
                      </a:cubicBezTo>
                      <a:lnTo>
                        <a:pt x="12" y="25"/>
                      </a:lnTo>
                      <a:close/>
                    </a:path>
                  </a:pathLst>
                </a:custGeom>
                <a:grpFill/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37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200" kern="0" dirty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  <p:sp>
          <p:nvSpPr>
            <p:cNvPr id="517" name="ZoneTexte 516">
              <a:extLst>
                <a:ext uri="{FF2B5EF4-FFF2-40B4-BE49-F238E27FC236}">
                  <a16:creationId xmlns:a16="http://schemas.microsoft.com/office/drawing/2014/main" id="{27DC652D-1A1D-46BE-80C4-4581CF96B50A}"/>
                </a:ext>
              </a:extLst>
            </p:cNvPr>
            <p:cNvSpPr txBox="1"/>
            <p:nvPr/>
          </p:nvSpPr>
          <p:spPr>
            <a:xfrm>
              <a:off x="6848518" y="1619948"/>
              <a:ext cx="795411" cy="323165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r>
                <a:rPr lang="fr-FR" sz="500" b="1" dirty="0">
                  <a:solidFill>
                    <a:srgbClr val="00CC9B"/>
                  </a:solidFill>
                  <a:latin typeface="Michelin SemiBold" panose="02000000000000000000" pitchFamily="50" charset="0"/>
                </a:rPr>
                <a:t>C</a:t>
              </a:r>
              <a:r>
                <a:rPr lang="fr-FR" sz="500" b="1" dirty="0">
                  <a:solidFill>
                    <a:srgbClr val="27509B"/>
                  </a:solidFill>
                  <a:latin typeface="Michelin SemiBold" panose="02000000000000000000" pitchFamily="50" charset="0"/>
                </a:rPr>
                <a:t>OMMUNITIES</a:t>
              </a:r>
            </a:p>
            <a:p>
              <a:r>
                <a:rPr lang="fr-FR" sz="500" b="1" dirty="0">
                  <a:solidFill>
                    <a:srgbClr val="00CC9B"/>
                  </a:solidFill>
                  <a:latin typeface="Michelin SemiBold" panose="02000000000000000000" pitchFamily="50" charset="0"/>
                </a:rPr>
                <a:t>O</a:t>
              </a:r>
              <a:r>
                <a:rPr lang="fr-FR" sz="500" b="1" dirty="0">
                  <a:solidFill>
                    <a:srgbClr val="27509B"/>
                  </a:solidFill>
                  <a:latin typeface="Michelin SemiBold" panose="02000000000000000000" pitchFamily="50" charset="0"/>
                </a:rPr>
                <a:t>F</a:t>
              </a:r>
            </a:p>
            <a:p>
              <a:r>
                <a:rPr lang="fr-FR" sz="500" b="1" dirty="0">
                  <a:solidFill>
                    <a:srgbClr val="00CC9B"/>
                  </a:solidFill>
                  <a:latin typeface="Michelin SemiBold" panose="02000000000000000000" pitchFamily="50" charset="0"/>
                </a:rPr>
                <a:t>P</a:t>
              </a:r>
              <a:r>
                <a:rPr lang="fr-FR" sz="500" b="1" dirty="0">
                  <a:solidFill>
                    <a:srgbClr val="27509B"/>
                  </a:solidFill>
                  <a:latin typeface="Michelin SemiBold" panose="02000000000000000000" pitchFamily="50" charset="0"/>
                </a:rPr>
                <a:t>ractices</a:t>
              </a:r>
              <a:endParaRPr lang="en-US" sz="500" b="1" dirty="0">
                <a:solidFill>
                  <a:srgbClr val="27509B"/>
                </a:solidFill>
                <a:latin typeface="Michelin SemiBold" panose="02000000000000000000" pitchFamily="50" charset="0"/>
              </a:endParaRPr>
            </a:p>
          </p:txBody>
        </p:sp>
      </p:grpSp>
      <p:pic>
        <p:nvPicPr>
          <p:cNvPr id="649" name="Image 1559">
            <a:extLst>
              <a:ext uri="{FF2B5EF4-FFF2-40B4-BE49-F238E27FC236}">
                <a16:creationId xmlns:a16="http://schemas.microsoft.com/office/drawing/2014/main" id="{BBE8C00C-BE3D-451D-B2A3-3A89CFEB6C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1173" y="4080817"/>
            <a:ext cx="331037" cy="312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0" name="Image 1589">
            <a:extLst>
              <a:ext uri="{FF2B5EF4-FFF2-40B4-BE49-F238E27FC236}">
                <a16:creationId xmlns:a16="http://schemas.microsoft.com/office/drawing/2014/main" id="{7DA70EBB-0C39-4F71-876A-C7DB3E6DA7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69836" y="3920533"/>
            <a:ext cx="410718" cy="385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1" name="Image 1560">
            <a:extLst>
              <a:ext uri="{FF2B5EF4-FFF2-40B4-BE49-F238E27FC236}">
                <a16:creationId xmlns:a16="http://schemas.microsoft.com/office/drawing/2014/main" id="{10B1D91C-F909-4CBC-AD4D-7D0E57092A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8512" y="172115"/>
            <a:ext cx="473705" cy="446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52" name="Groupe 651">
            <a:extLst>
              <a:ext uri="{FF2B5EF4-FFF2-40B4-BE49-F238E27FC236}">
                <a16:creationId xmlns:a16="http://schemas.microsoft.com/office/drawing/2014/main" id="{F6AF9206-2F8F-45E6-BC65-0E1A36BB7609}"/>
              </a:ext>
            </a:extLst>
          </p:cNvPr>
          <p:cNvGrpSpPr/>
          <p:nvPr/>
        </p:nvGrpSpPr>
        <p:grpSpPr>
          <a:xfrm>
            <a:off x="3828826" y="3433147"/>
            <a:ext cx="515885" cy="682651"/>
            <a:chOff x="12116246" y="13542963"/>
            <a:chExt cx="2950717" cy="4328963"/>
          </a:xfrm>
          <a:effectLst/>
        </p:grpSpPr>
        <p:sp>
          <p:nvSpPr>
            <p:cNvPr id="653" name="Ellipse 652">
              <a:extLst>
                <a:ext uri="{FF2B5EF4-FFF2-40B4-BE49-F238E27FC236}">
                  <a16:creationId xmlns:a16="http://schemas.microsoft.com/office/drawing/2014/main" id="{A3932C15-0871-4303-8F48-05806DFD36AE}"/>
                </a:ext>
              </a:extLst>
            </p:cNvPr>
            <p:cNvSpPr/>
            <p:nvPr/>
          </p:nvSpPr>
          <p:spPr>
            <a:xfrm>
              <a:off x="12539663" y="14520863"/>
              <a:ext cx="2527300" cy="25273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68538" rIns="0" bIns="168538" anchor="ctr"/>
            <a:lstStyle/>
            <a:p>
              <a:pPr algn="ctr"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DELIVERY</a:t>
              </a:r>
            </a:p>
            <a:p>
              <a:pPr algn="ctr"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SQUAD(s)</a:t>
              </a:r>
            </a:p>
          </p:txBody>
        </p:sp>
        <p:sp>
          <p:nvSpPr>
            <p:cNvPr id="655" name="Ellipse 654">
              <a:extLst>
                <a:ext uri="{FF2B5EF4-FFF2-40B4-BE49-F238E27FC236}">
                  <a16:creationId xmlns:a16="http://schemas.microsoft.com/office/drawing/2014/main" id="{ABBF8B91-1D37-4C08-B396-A5D2B1739AFD}"/>
                </a:ext>
              </a:extLst>
            </p:cNvPr>
            <p:cNvSpPr/>
            <p:nvPr/>
          </p:nvSpPr>
          <p:spPr>
            <a:xfrm>
              <a:off x="12116246" y="16187590"/>
              <a:ext cx="1685927" cy="168433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FAB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168538" rIns="0" bIns="168538" anchor="ctr"/>
            <a:lstStyle/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4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DEV.</a:t>
              </a:r>
            </a:p>
          </p:txBody>
        </p:sp>
        <p:sp>
          <p:nvSpPr>
            <p:cNvPr id="656" name="Ellipse 655">
              <a:extLst>
                <a:ext uri="{FF2B5EF4-FFF2-40B4-BE49-F238E27FC236}">
                  <a16:creationId xmlns:a16="http://schemas.microsoft.com/office/drawing/2014/main" id="{A66AA14C-35B3-485D-B8D8-74C2528DEAB2}"/>
                </a:ext>
              </a:extLst>
            </p:cNvPr>
            <p:cNvSpPr/>
            <p:nvPr/>
          </p:nvSpPr>
          <p:spPr>
            <a:xfrm>
              <a:off x="12253913" y="13542963"/>
              <a:ext cx="1684337" cy="168592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FAB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168538" rIns="0" bIns="168538" anchor="ctr"/>
            <a:lstStyle/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TEAM</a:t>
              </a:r>
            </a:p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LEADER</a:t>
              </a:r>
            </a:p>
          </p:txBody>
        </p:sp>
      </p:grpSp>
      <p:sp>
        <p:nvSpPr>
          <p:cNvPr id="662" name="Ellipse 661">
            <a:extLst>
              <a:ext uri="{FF2B5EF4-FFF2-40B4-BE49-F238E27FC236}">
                <a16:creationId xmlns:a16="http://schemas.microsoft.com/office/drawing/2014/main" id="{DFB0D42B-D2B6-4A32-9246-81B9ED32CD2E}"/>
              </a:ext>
            </a:extLst>
          </p:cNvPr>
          <p:cNvSpPr/>
          <p:nvPr/>
        </p:nvSpPr>
        <p:spPr>
          <a:xfrm>
            <a:off x="4217177" y="3815208"/>
            <a:ext cx="294757" cy="265609"/>
          </a:xfrm>
          <a:prstGeom prst="ellipse">
            <a:avLst/>
          </a:prstGeom>
          <a:solidFill>
            <a:schemeClr val="bg1"/>
          </a:solidFill>
          <a:ln w="25400">
            <a:solidFill>
              <a:srgbClr val="FAB9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68538" rIns="0" bIns="168538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400" b="1" dirty="0">
                <a:solidFill>
                  <a:prstClr val="white">
                    <a:lumMod val="50000"/>
                  </a:prstClr>
                </a:solidFill>
                <a:latin typeface="Michelin SemiBold"/>
              </a:rPr>
              <a:t>DEV.</a:t>
            </a:r>
          </a:p>
        </p:txBody>
      </p:sp>
      <p:pic>
        <p:nvPicPr>
          <p:cNvPr id="663" name="Image 1504">
            <a:extLst>
              <a:ext uri="{FF2B5EF4-FFF2-40B4-BE49-F238E27FC236}">
                <a16:creationId xmlns:a16="http://schemas.microsoft.com/office/drawing/2014/main" id="{745D5404-7424-4033-9D76-02E7EB0469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5037" y="2603458"/>
            <a:ext cx="406599" cy="401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5" name="Rectangle 296077">
            <a:extLst>
              <a:ext uri="{FF2B5EF4-FFF2-40B4-BE49-F238E27FC236}">
                <a16:creationId xmlns:a16="http://schemas.microsoft.com/office/drawing/2014/main" id="{22D538B0-A771-4D33-B66D-9E9CC6878174}"/>
              </a:ext>
            </a:extLst>
          </p:cNvPr>
          <p:cNvSpPr txBox="1"/>
          <p:nvPr/>
        </p:nvSpPr>
        <p:spPr>
          <a:xfrm>
            <a:off x="2914023" y="721211"/>
            <a:ext cx="2971366" cy="682139"/>
          </a:xfrm>
          <a:prstGeom prst="rect">
            <a:avLst/>
          </a:prstGeom>
          <a:solidFill>
            <a:srgbClr val="00CC9B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1071" tIns="71071" rIns="71071" bIns="71071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helin Black" panose="02000000000000000000" pitchFamily="50" charset="0"/>
              </a:rPr>
              <a:t>Intentional Architecture</a:t>
            </a:r>
          </a:p>
          <a:p>
            <a:pPr defTabSz="1193643">
              <a:buClr>
                <a:srgbClr val="1F497D"/>
              </a:buClr>
              <a:defRPr/>
            </a:pPr>
            <a:r>
              <a:rPr lang="en-US" sz="800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chitects community provides </a:t>
            </a:r>
            <a:r>
              <a:rPr lang="en-US" sz="800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for cross-team design</a:t>
            </a:r>
            <a:r>
              <a:rPr lang="en-US" sz="800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implementation </a:t>
            </a:r>
            <a:r>
              <a:rPr lang="en-US" sz="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chronization</a:t>
            </a:r>
            <a:r>
              <a:rPr lang="en-US" sz="800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800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ing</a:t>
            </a:r>
            <a:r>
              <a:rPr lang="en-US" sz="800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00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ual integrity @scale.</a:t>
            </a:r>
          </a:p>
        </p:txBody>
      </p:sp>
      <p:pic>
        <p:nvPicPr>
          <p:cNvPr id="676" name="Image 1601">
            <a:extLst>
              <a:ext uri="{FF2B5EF4-FFF2-40B4-BE49-F238E27FC236}">
                <a16:creationId xmlns:a16="http://schemas.microsoft.com/office/drawing/2014/main" id="{30A2BB73-FF6D-42D5-B1DC-DE3EB519C9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46210" y="440513"/>
            <a:ext cx="441188" cy="431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7" name="Image 1505">
            <a:extLst>
              <a:ext uri="{FF2B5EF4-FFF2-40B4-BE49-F238E27FC236}">
                <a16:creationId xmlns:a16="http://schemas.microsoft.com/office/drawing/2014/main" id="{43F4D61B-220A-49A0-8272-F6FFBE29FA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1253" y="615191"/>
            <a:ext cx="369732" cy="3621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339588C-2696-4883-91CC-709F331EC340}"/>
              </a:ext>
            </a:extLst>
          </p:cNvPr>
          <p:cNvSpPr/>
          <p:nvPr/>
        </p:nvSpPr>
        <p:spPr>
          <a:xfrm>
            <a:off x="1662039" y="842256"/>
            <a:ext cx="277334" cy="1629258"/>
          </a:xfrm>
          <a:prstGeom prst="rect">
            <a:avLst/>
          </a:prstGeom>
          <a:solidFill>
            <a:srgbClr val="00CC9B"/>
          </a:solidFill>
          <a:ln>
            <a:solidFill>
              <a:schemeClr val="accent3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1100" dirty="0">
                <a:latin typeface="Aharoni" panose="02010803020104030203" pitchFamily="2" charset="-79"/>
                <a:cs typeface="Aharoni" panose="02010803020104030203" pitchFamily="2" charset="-79"/>
              </a:rPr>
              <a:t>HARD RULES</a:t>
            </a:r>
          </a:p>
        </p:txBody>
      </p:sp>
      <p:sp>
        <p:nvSpPr>
          <p:cNvPr id="673" name="Rectangle 672">
            <a:extLst>
              <a:ext uri="{FF2B5EF4-FFF2-40B4-BE49-F238E27FC236}">
                <a16:creationId xmlns:a16="http://schemas.microsoft.com/office/drawing/2014/main" id="{08B94F96-5F64-4059-834A-4ECB003C965B}"/>
              </a:ext>
            </a:extLst>
          </p:cNvPr>
          <p:cNvSpPr/>
          <p:nvPr/>
        </p:nvSpPr>
        <p:spPr>
          <a:xfrm>
            <a:off x="1666619" y="2503926"/>
            <a:ext cx="277603" cy="1912778"/>
          </a:xfrm>
          <a:prstGeom prst="rect">
            <a:avLst/>
          </a:prstGeom>
          <a:solidFill>
            <a:srgbClr val="FFC00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1100" dirty="0">
                <a:latin typeface="Aharoni" panose="02010803020104030203" pitchFamily="2" charset="-79"/>
                <a:cs typeface="Aharoni" panose="02010803020104030203" pitchFamily="2" charset="-79"/>
              </a:rPr>
              <a:t>LEFT OPEN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0233726-1451-4883-B3E9-33EA11330046}"/>
              </a:ext>
            </a:extLst>
          </p:cNvPr>
          <p:cNvSpPr txBox="1"/>
          <p:nvPr/>
        </p:nvSpPr>
        <p:spPr>
          <a:xfrm rot="16200000">
            <a:off x="1376078" y="1553005"/>
            <a:ext cx="1352001" cy="18594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fr-FR" sz="800" b="1" dirty="0">
                <a:solidFill>
                  <a:prstClr val="black"/>
                </a:solidFill>
                <a:latin typeface="Calibri"/>
              </a:rPr>
              <a:t>ARCHITECTURE RESPONSABILTY </a:t>
            </a:r>
          </a:p>
        </p:txBody>
      </p: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869AFAB4-22F1-4B5B-B263-A8C28F30D8D3}"/>
              </a:ext>
            </a:extLst>
          </p:cNvPr>
          <p:cNvCxnSpPr/>
          <p:nvPr/>
        </p:nvCxnSpPr>
        <p:spPr>
          <a:xfrm flipH="1">
            <a:off x="1984181" y="865972"/>
            <a:ext cx="5677" cy="160944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4" name="Connecteur droit avec flèche 673">
            <a:extLst>
              <a:ext uri="{FF2B5EF4-FFF2-40B4-BE49-F238E27FC236}">
                <a16:creationId xmlns:a16="http://schemas.microsoft.com/office/drawing/2014/main" id="{E6CB7BA9-011C-4F16-A929-520A0DA57D56}"/>
              </a:ext>
            </a:extLst>
          </p:cNvPr>
          <p:cNvCxnSpPr>
            <a:cxnSpLocks/>
          </p:cNvCxnSpPr>
          <p:nvPr/>
        </p:nvCxnSpPr>
        <p:spPr>
          <a:xfrm flipH="1" flipV="1">
            <a:off x="1988121" y="2515265"/>
            <a:ext cx="24566" cy="18188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8" name="ZoneTexte 677">
            <a:extLst>
              <a:ext uri="{FF2B5EF4-FFF2-40B4-BE49-F238E27FC236}">
                <a16:creationId xmlns:a16="http://schemas.microsoft.com/office/drawing/2014/main" id="{1231E9A0-ECBB-4CC8-BB4B-3FC689EC73A4}"/>
              </a:ext>
            </a:extLst>
          </p:cNvPr>
          <p:cNvSpPr txBox="1"/>
          <p:nvPr/>
        </p:nvSpPr>
        <p:spPr>
          <a:xfrm rot="16200000">
            <a:off x="1423674" y="3367340"/>
            <a:ext cx="1343700" cy="18594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fr-FR" sz="800" b="1" dirty="0">
                <a:solidFill>
                  <a:prstClr val="black"/>
                </a:solidFill>
                <a:latin typeface="Calibri"/>
              </a:rPr>
              <a:t>SQUAD - DEV  RESPONSABILTY </a:t>
            </a:r>
          </a:p>
        </p:txBody>
      </p:sp>
      <p:sp>
        <p:nvSpPr>
          <p:cNvPr id="679" name="ZoneTexte 678">
            <a:extLst>
              <a:ext uri="{FF2B5EF4-FFF2-40B4-BE49-F238E27FC236}">
                <a16:creationId xmlns:a16="http://schemas.microsoft.com/office/drawing/2014/main" id="{FAC10DBD-47E3-4CDD-97CE-333C26D3A187}"/>
              </a:ext>
            </a:extLst>
          </p:cNvPr>
          <p:cNvSpPr txBox="1"/>
          <p:nvPr/>
        </p:nvSpPr>
        <p:spPr>
          <a:xfrm rot="16200000">
            <a:off x="1091777" y="2392241"/>
            <a:ext cx="2247157" cy="212513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Michelin Black" panose="02000000000000000000" pitchFamily="50" charset="0"/>
              </a:rPr>
              <a:t>CONTINOUS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Michelin Black" panose="02000000000000000000" pitchFamily="50" charset="0"/>
              </a:rPr>
              <a:t> ARCHITECTURE</a:t>
            </a:r>
          </a:p>
        </p:txBody>
      </p:sp>
      <p:sp>
        <p:nvSpPr>
          <p:cNvPr id="680" name="Rectangle 679">
            <a:extLst>
              <a:ext uri="{FF2B5EF4-FFF2-40B4-BE49-F238E27FC236}">
                <a16:creationId xmlns:a16="http://schemas.microsoft.com/office/drawing/2014/main" id="{F66785B3-9A2A-4EF8-808C-55A45A404C48}"/>
              </a:ext>
            </a:extLst>
          </p:cNvPr>
          <p:cNvSpPr/>
          <p:nvPr/>
        </p:nvSpPr>
        <p:spPr>
          <a:xfrm>
            <a:off x="2314775" y="772240"/>
            <a:ext cx="288559" cy="966384"/>
          </a:xfrm>
          <a:prstGeom prst="rect">
            <a:avLst/>
          </a:prstGeom>
          <a:solidFill>
            <a:srgbClr val="00CC9B"/>
          </a:solidFill>
          <a:ln>
            <a:solidFill>
              <a:schemeClr val="accent3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latin typeface="Aharoni" panose="02010803020104030203" pitchFamily="2" charset="-79"/>
                <a:cs typeface="Aharoni" panose="02010803020104030203" pitchFamily="2" charset="-79"/>
              </a:rPr>
              <a:t>HARD RULES</a:t>
            </a:r>
          </a:p>
        </p:txBody>
      </p:sp>
      <p:sp>
        <p:nvSpPr>
          <p:cNvPr id="681" name="Rectangle 680">
            <a:extLst>
              <a:ext uri="{FF2B5EF4-FFF2-40B4-BE49-F238E27FC236}">
                <a16:creationId xmlns:a16="http://schemas.microsoft.com/office/drawing/2014/main" id="{524B7F14-F675-47D5-A71C-7104AEE8BEA5}"/>
              </a:ext>
            </a:extLst>
          </p:cNvPr>
          <p:cNvSpPr/>
          <p:nvPr/>
        </p:nvSpPr>
        <p:spPr>
          <a:xfrm>
            <a:off x="2330580" y="3227039"/>
            <a:ext cx="270249" cy="1201219"/>
          </a:xfrm>
          <a:prstGeom prst="rect">
            <a:avLst/>
          </a:prstGeom>
          <a:solidFill>
            <a:srgbClr val="FFC00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latin typeface="Aharoni" panose="02010803020104030203" pitchFamily="2" charset="-79"/>
                <a:cs typeface="Aharoni" panose="02010803020104030203" pitchFamily="2" charset="-79"/>
              </a:rPr>
              <a:t>LEFT OPEN</a:t>
            </a:r>
          </a:p>
        </p:txBody>
      </p:sp>
      <p:sp>
        <p:nvSpPr>
          <p:cNvPr id="682" name="ZoneTexte 681">
            <a:extLst>
              <a:ext uri="{FF2B5EF4-FFF2-40B4-BE49-F238E27FC236}">
                <a16:creationId xmlns:a16="http://schemas.microsoft.com/office/drawing/2014/main" id="{EDF4C9D2-4643-422D-97EF-53F0D309D229}"/>
              </a:ext>
            </a:extLst>
          </p:cNvPr>
          <p:cNvSpPr txBox="1"/>
          <p:nvPr/>
        </p:nvSpPr>
        <p:spPr>
          <a:xfrm rot="16200000">
            <a:off x="2040040" y="1482989"/>
            <a:ext cx="1352001" cy="18594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fr-FR" sz="800" b="1" dirty="0">
                <a:solidFill>
                  <a:prstClr val="black"/>
                </a:solidFill>
                <a:latin typeface="Calibri"/>
              </a:rPr>
              <a:t>ARCHITECTURE RESPONSABILTY </a:t>
            </a:r>
          </a:p>
        </p:txBody>
      </p:sp>
      <p:cxnSp>
        <p:nvCxnSpPr>
          <p:cNvPr id="683" name="Connecteur droit avec flèche 682">
            <a:extLst>
              <a:ext uri="{FF2B5EF4-FFF2-40B4-BE49-F238E27FC236}">
                <a16:creationId xmlns:a16="http://schemas.microsoft.com/office/drawing/2014/main" id="{0CDCD36F-546A-48EA-8681-09278A72FA78}"/>
              </a:ext>
            </a:extLst>
          </p:cNvPr>
          <p:cNvCxnSpPr>
            <a:cxnSpLocks/>
          </p:cNvCxnSpPr>
          <p:nvPr/>
        </p:nvCxnSpPr>
        <p:spPr>
          <a:xfrm>
            <a:off x="2653820" y="795956"/>
            <a:ext cx="0" cy="239927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4" name="Connecteur droit avec flèche 683">
            <a:extLst>
              <a:ext uri="{FF2B5EF4-FFF2-40B4-BE49-F238E27FC236}">
                <a16:creationId xmlns:a16="http://schemas.microsoft.com/office/drawing/2014/main" id="{1CB76820-3AB5-4203-88CF-08C40374D346}"/>
              </a:ext>
            </a:extLst>
          </p:cNvPr>
          <p:cNvCxnSpPr>
            <a:cxnSpLocks/>
          </p:cNvCxnSpPr>
          <p:nvPr/>
        </p:nvCxnSpPr>
        <p:spPr>
          <a:xfrm flipH="1" flipV="1">
            <a:off x="2793748" y="1775689"/>
            <a:ext cx="9083" cy="259589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5" name="ZoneTexte 684">
            <a:extLst>
              <a:ext uri="{FF2B5EF4-FFF2-40B4-BE49-F238E27FC236}">
                <a16:creationId xmlns:a16="http://schemas.microsoft.com/office/drawing/2014/main" id="{9627BC8A-7306-4765-A04E-BAA1B6BFBC10}"/>
              </a:ext>
            </a:extLst>
          </p:cNvPr>
          <p:cNvSpPr txBox="1"/>
          <p:nvPr/>
        </p:nvSpPr>
        <p:spPr>
          <a:xfrm rot="16200000">
            <a:off x="2208703" y="3366473"/>
            <a:ext cx="1343700" cy="18594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fr-FR" sz="800" b="1" dirty="0">
                <a:solidFill>
                  <a:prstClr val="black"/>
                </a:solidFill>
                <a:latin typeface="Calibri"/>
              </a:rPr>
              <a:t>SQUAD - DEV  RESPONSABILTY </a:t>
            </a:r>
          </a:p>
        </p:txBody>
      </p:sp>
      <p:sp>
        <p:nvSpPr>
          <p:cNvPr id="686" name="Rectangle 685">
            <a:extLst>
              <a:ext uri="{FF2B5EF4-FFF2-40B4-BE49-F238E27FC236}">
                <a16:creationId xmlns:a16="http://schemas.microsoft.com/office/drawing/2014/main" id="{16C47467-EF59-42CE-A5A4-FA9B297A6654}"/>
              </a:ext>
            </a:extLst>
          </p:cNvPr>
          <p:cNvSpPr/>
          <p:nvPr/>
        </p:nvSpPr>
        <p:spPr>
          <a:xfrm>
            <a:off x="2319426" y="1770377"/>
            <a:ext cx="270249" cy="141389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latin typeface="Aharoni" panose="02010803020104030203" pitchFamily="2" charset="-79"/>
                <a:cs typeface="Aharoni" panose="02010803020104030203" pitchFamily="2" charset="-79"/>
              </a:rPr>
              <a:t>DIALOG ZONE</a:t>
            </a:r>
          </a:p>
        </p:txBody>
      </p:sp>
      <p:sp>
        <p:nvSpPr>
          <p:cNvPr id="256" name="ZoneTexte 255">
            <a:extLst>
              <a:ext uri="{FF2B5EF4-FFF2-40B4-BE49-F238E27FC236}">
                <a16:creationId xmlns:a16="http://schemas.microsoft.com/office/drawing/2014/main" id="{55A59FDC-6F0C-4DD3-8290-5E3BDB68FA72}"/>
              </a:ext>
            </a:extLst>
          </p:cNvPr>
          <p:cNvSpPr txBox="1"/>
          <p:nvPr/>
        </p:nvSpPr>
        <p:spPr>
          <a:xfrm rot="16829998">
            <a:off x="2861205" y="1818355"/>
            <a:ext cx="734495" cy="369332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</a:rPr>
              <a:t>Guideline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dirty="0">
                <a:solidFill>
                  <a:prstClr val="white">
                    <a:lumMod val="50000"/>
                  </a:prstClr>
                </a:solidFill>
                <a:latin typeface="Calibri"/>
              </a:rPr>
              <a:t>Constraints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57" name="ZoneTexte 256">
            <a:extLst>
              <a:ext uri="{FF2B5EF4-FFF2-40B4-BE49-F238E27FC236}">
                <a16:creationId xmlns:a16="http://schemas.microsoft.com/office/drawing/2014/main" id="{875DCED1-B092-480F-AA4E-A6FB0EB78480}"/>
              </a:ext>
            </a:extLst>
          </p:cNvPr>
          <p:cNvSpPr txBox="1"/>
          <p:nvPr/>
        </p:nvSpPr>
        <p:spPr>
          <a:xfrm rot="17351464">
            <a:off x="3774662" y="2651112"/>
            <a:ext cx="574195" cy="369332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war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6D617D-42E4-4366-AA2F-F03C15B456D2}"/>
              </a:ext>
            </a:extLst>
          </p:cNvPr>
          <p:cNvSpPr/>
          <p:nvPr/>
        </p:nvSpPr>
        <p:spPr>
          <a:xfrm>
            <a:off x="5395321" y="4121112"/>
            <a:ext cx="3168059" cy="369332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lvl="0" defTabSz="895255">
              <a:buClr>
                <a:srgbClr val="1F497D"/>
              </a:buClr>
              <a:defRPr/>
            </a:pPr>
            <a:r>
              <a:rPr lang="en-US" sz="900" i="1" dirty="0">
                <a:solidFill>
                  <a:prstClr val="black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he design evolves hand-in-hand with business functionality. It is constantly tested.</a:t>
            </a: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EBB082E3-5C0C-48FA-A7DB-E6CE0300E130}"/>
              </a:ext>
            </a:extLst>
          </p:cNvPr>
          <p:cNvSpPr/>
          <p:nvPr/>
        </p:nvSpPr>
        <p:spPr>
          <a:xfrm>
            <a:off x="4740079" y="1648149"/>
            <a:ext cx="1667377" cy="1478190"/>
          </a:xfrm>
          <a:prstGeom prst="roundRect">
            <a:avLst>
              <a:gd name="adj" fmla="val 3451"/>
            </a:avLst>
          </a:prstGeom>
          <a:solidFill>
            <a:schemeClr val="bg1">
              <a:lumMod val="95000"/>
              <a:alpha val="8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69E45A98-2E4B-40D3-BD35-5A2578223DBB}"/>
              </a:ext>
            </a:extLst>
          </p:cNvPr>
          <p:cNvSpPr/>
          <p:nvPr/>
        </p:nvSpPr>
        <p:spPr>
          <a:xfrm>
            <a:off x="5075198" y="1907811"/>
            <a:ext cx="614233" cy="246221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lvl="0" defTabSz="895255">
              <a:buClr>
                <a:srgbClr val="1F497D"/>
              </a:buClr>
              <a:defRPr/>
            </a:pPr>
            <a:r>
              <a:rPr lang="en-US" sz="500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  <a:cs typeface="Aharoni" panose="02010803020104030203" pitchFamily="2" charset="-79"/>
              </a:rPr>
              <a:t>WEEKLY MEETING</a:t>
            </a:r>
          </a:p>
        </p:txBody>
      </p:sp>
      <p:sp>
        <p:nvSpPr>
          <p:cNvPr id="263" name="Ellipse 262">
            <a:extLst>
              <a:ext uri="{FF2B5EF4-FFF2-40B4-BE49-F238E27FC236}">
                <a16:creationId xmlns:a16="http://schemas.microsoft.com/office/drawing/2014/main" id="{31FEF33F-BEBF-4130-8834-39E86782EE0D}"/>
              </a:ext>
            </a:extLst>
          </p:cNvPr>
          <p:cNvSpPr/>
          <p:nvPr/>
        </p:nvSpPr>
        <p:spPr>
          <a:xfrm>
            <a:off x="5174276" y="2175603"/>
            <a:ext cx="250068" cy="23604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K</a:t>
            </a:r>
            <a:r>
              <a:rPr lang="fr-FR" sz="9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it</a:t>
            </a:r>
            <a:endParaRPr lang="fr-FR" sz="1100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F80E40E2-5990-4DDB-85C9-B06660858815}"/>
              </a:ext>
            </a:extLst>
          </p:cNvPr>
          <p:cNvSpPr/>
          <p:nvPr/>
        </p:nvSpPr>
        <p:spPr>
          <a:xfrm>
            <a:off x="5426025" y="2171198"/>
            <a:ext cx="859483" cy="246221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lvl="0" defTabSz="895255">
              <a:buClr>
                <a:srgbClr val="1F497D"/>
              </a:buClr>
              <a:defRPr/>
            </a:pPr>
            <a:r>
              <a:rPr lang="en-US" sz="500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  <a:cs typeface="Aharoni" panose="02010803020104030203" pitchFamily="2" charset="-79"/>
              </a:rPr>
              <a:t>DECISION</a:t>
            </a:r>
          </a:p>
          <a:p>
            <a:pPr lvl="0" defTabSz="895255">
              <a:buClr>
                <a:srgbClr val="1F497D"/>
              </a:buClr>
              <a:defRPr/>
            </a:pPr>
            <a:r>
              <a:rPr lang="en-US" sz="500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  <a:cs typeface="Aharoni" panose="02010803020104030203" pitchFamily="2" charset="-79"/>
              </a:rPr>
              <a:t>LOG</a:t>
            </a:r>
          </a:p>
        </p:txBody>
      </p:sp>
      <p:sp>
        <p:nvSpPr>
          <p:cNvPr id="265" name="Freeform 7">
            <a:extLst>
              <a:ext uri="{FF2B5EF4-FFF2-40B4-BE49-F238E27FC236}">
                <a16:creationId xmlns:a16="http://schemas.microsoft.com/office/drawing/2014/main" id="{9203CFD4-8626-47F1-A51F-0191CF229B1F}"/>
              </a:ext>
            </a:extLst>
          </p:cNvPr>
          <p:cNvSpPr>
            <a:spLocks noEditPoints="1"/>
          </p:cNvSpPr>
          <p:nvPr/>
        </p:nvSpPr>
        <p:spPr bwMode="auto">
          <a:xfrm>
            <a:off x="5050474" y="2459020"/>
            <a:ext cx="154746" cy="166048"/>
          </a:xfrm>
          <a:custGeom>
            <a:avLst/>
            <a:gdLst>
              <a:gd name="T0" fmla="*/ 13 w 64"/>
              <a:gd name="T1" fmla="*/ 45 h 67"/>
              <a:gd name="T2" fmla="*/ 13 w 64"/>
              <a:gd name="T3" fmla="*/ 63 h 67"/>
              <a:gd name="T4" fmla="*/ 9 w 64"/>
              <a:gd name="T5" fmla="*/ 67 h 67"/>
              <a:gd name="T6" fmla="*/ 5 w 64"/>
              <a:gd name="T7" fmla="*/ 67 h 67"/>
              <a:gd name="T8" fmla="*/ 1 w 64"/>
              <a:gd name="T9" fmla="*/ 63 h 67"/>
              <a:gd name="T10" fmla="*/ 1 w 64"/>
              <a:gd name="T11" fmla="*/ 45 h 67"/>
              <a:gd name="T12" fmla="*/ 5 w 64"/>
              <a:gd name="T13" fmla="*/ 41 h 67"/>
              <a:gd name="T14" fmla="*/ 9 w 64"/>
              <a:gd name="T15" fmla="*/ 41 h 67"/>
              <a:gd name="T16" fmla="*/ 13 w 64"/>
              <a:gd name="T17" fmla="*/ 45 h 67"/>
              <a:gd name="T18" fmla="*/ 26 w 64"/>
              <a:gd name="T19" fmla="*/ 26 h 67"/>
              <a:gd name="T20" fmla="*/ 22 w 64"/>
              <a:gd name="T21" fmla="*/ 26 h 67"/>
              <a:gd name="T22" fmla="*/ 18 w 64"/>
              <a:gd name="T23" fmla="*/ 30 h 67"/>
              <a:gd name="T24" fmla="*/ 18 w 64"/>
              <a:gd name="T25" fmla="*/ 63 h 67"/>
              <a:gd name="T26" fmla="*/ 22 w 64"/>
              <a:gd name="T27" fmla="*/ 67 h 67"/>
              <a:gd name="T28" fmla="*/ 26 w 64"/>
              <a:gd name="T29" fmla="*/ 67 h 67"/>
              <a:gd name="T30" fmla="*/ 30 w 64"/>
              <a:gd name="T31" fmla="*/ 63 h 67"/>
              <a:gd name="T32" fmla="*/ 30 w 64"/>
              <a:gd name="T33" fmla="*/ 30 h 67"/>
              <a:gd name="T34" fmla="*/ 26 w 64"/>
              <a:gd name="T35" fmla="*/ 26 h 67"/>
              <a:gd name="T36" fmla="*/ 43 w 64"/>
              <a:gd name="T37" fmla="*/ 32 h 67"/>
              <a:gd name="T38" fmla="*/ 39 w 64"/>
              <a:gd name="T39" fmla="*/ 32 h 67"/>
              <a:gd name="T40" fmla="*/ 35 w 64"/>
              <a:gd name="T41" fmla="*/ 36 h 67"/>
              <a:gd name="T42" fmla="*/ 35 w 64"/>
              <a:gd name="T43" fmla="*/ 63 h 67"/>
              <a:gd name="T44" fmla="*/ 39 w 64"/>
              <a:gd name="T45" fmla="*/ 67 h 67"/>
              <a:gd name="T46" fmla="*/ 43 w 64"/>
              <a:gd name="T47" fmla="*/ 67 h 67"/>
              <a:gd name="T48" fmla="*/ 47 w 64"/>
              <a:gd name="T49" fmla="*/ 63 h 67"/>
              <a:gd name="T50" fmla="*/ 47 w 64"/>
              <a:gd name="T51" fmla="*/ 36 h 67"/>
              <a:gd name="T52" fmla="*/ 43 w 64"/>
              <a:gd name="T53" fmla="*/ 32 h 67"/>
              <a:gd name="T54" fmla="*/ 60 w 64"/>
              <a:gd name="T55" fmla="*/ 18 h 67"/>
              <a:gd name="T56" fmla="*/ 56 w 64"/>
              <a:gd name="T57" fmla="*/ 18 h 67"/>
              <a:gd name="T58" fmla="*/ 52 w 64"/>
              <a:gd name="T59" fmla="*/ 22 h 67"/>
              <a:gd name="T60" fmla="*/ 52 w 64"/>
              <a:gd name="T61" fmla="*/ 63 h 67"/>
              <a:gd name="T62" fmla="*/ 56 w 64"/>
              <a:gd name="T63" fmla="*/ 67 h 67"/>
              <a:gd name="T64" fmla="*/ 60 w 64"/>
              <a:gd name="T65" fmla="*/ 67 h 67"/>
              <a:gd name="T66" fmla="*/ 64 w 64"/>
              <a:gd name="T67" fmla="*/ 63 h 67"/>
              <a:gd name="T68" fmla="*/ 64 w 64"/>
              <a:gd name="T69" fmla="*/ 22 h 67"/>
              <a:gd name="T70" fmla="*/ 60 w 64"/>
              <a:gd name="T71" fmla="*/ 18 h 67"/>
              <a:gd name="T72" fmla="*/ 21 w 64"/>
              <a:gd name="T73" fmla="*/ 13 h 67"/>
              <a:gd name="T74" fmla="*/ 41 w 64"/>
              <a:gd name="T75" fmla="*/ 27 h 67"/>
              <a:gd name="T76" fmla="*/ 58 w 64"/>
              <a:gd name="T77" fmla="*/ 5 h 67"/>
              <a:gd name="T78" fmla="*/ 60 w 64"/>
              <a:gd name="T79" fmla="*/ 6 h 67"/>
              <a:gd name="T80" fmla="*/ 60 w 64"/>
              <a:gd name="T81" fmla="*/ 0 h 67"/>
              <a:gd name="T82" fmla="*/ 55 w 64"/>
              <a:gd name="T83" fmla="*/ 3 h 67"/>
              <a:gd name="T84" fmla="*/ 56 w 64"/>
              <a:gd name="T85" fmla="*/ 4 h 67"/>
              <a:gd name="T86" fmla="*/ 40 w 64"/>
              <a:gd name="T87" fmla="*/ 23 h 67"/>
              <a:gd name="T88" fmla="*/ 21 w 64"/>
              <a:gd name="T89" fmla="*/ 10 h 67"/>
              <a:gd name="T90" fmla="*/ 0 w 64"/>
              <a:gd name="T91" fmla="*/ 29 h 67"/>
              <a:gd name="T92" fmla="*/ 2 w 64"/>
              <a:gd name="T93" fmla="*/ 31 h 67"/>
              <a:gd name="T94" fmla="*/ 21 w 64"/>
              <a:gd name="T95" fmla="*/ 1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4" h="67">
                <a:moveTo>
                  <a:pt x="13" y="45"/>
                </a:moveTo>
                <a:cubicBezTo>
                  <a:pt x="13" y="63"/>
                  <a:pt x="13" y="63"/>
                  <a:pt x="13" y="63"/>
                </a:cubicBezTo>
                <a:cubicBezTo>
                  <a:pt x="13" y="65"/>
                  <a:pt x="11" y="67"/>
                  <a:pt x="9" y="67"/>
                </a:cubicBezTo>
                <a:cubicBezTo>
                  <a:pt x="5" y="67"/>
                  <a:pt x="5" y="67"/>
                  <a:pt x="5" y="67"/>
                </a:cubicBezTo>
                <a:cubicBezTo>
                  <a:pt x="3" y="67"/>
                  <a:pt x="1" y="65"/>
                  <a:pt x="1" y="63"/>
                </a:cubicBezTo>
                <a:cubicBezTo>
                  <a:pt x="1" y="45"/>
                  <a:pt x="1" y="45"/>
                  <a:pt x="1" y="45"/>
                </a:cubicBezTo>
                <a:cubicBezTo>
                  <a:pt x="1" y="43"/>
                  <a:pt x="3" y="41"/>
                  <a:pt x="5" y="41"/>
                </a:cubicBezTo>
                <a:cubicBezTo>
                  <a:pt x="9" y="41"/>
                  <a:pt x="9" y="41"/>
                  <a:pt x="9" y="41"/>
                </a:cubicBezTo>
                <a:cubicBezTo>
                  <a:pt x="11" y="41"/>
                  <a:pt x="13" y="43"/>
                  <a:pt x="13" y="45"/>
                </a:cubicBezTo>
                <a:close/>
                <a:moveTo>
                  <a:pt x="26" y="26"/>
                </a:moveTo>
                <a:cubicBezTo>
                  <a:pt x="22" y="26"/>
                  <a:pt x="22" y="26"/>
                  <a:pt x="22" y="26"/>
                </a:cubicBezTo>
                <a:cubicBezTo>
                  <a:pt x="20" y="26"/>
                  <a:pt x="18" y="28"/>
                  <a:pt x="18" y="30"/>
                </a:cubicBezTo>
                <a:cubicBezTo>
                  <a:pt x="18" y="63"/>
                  <a:pt x="18" y="63"/>
                  <a:pt x="18" y="63"/>
                </a:cubicBezTo>
                <a:cubicBezTo>
                  <a:pt x="18" y="65"/>
                  <a:pt x="20" y="67"/>
                  <a:pt x="22" y="67"/>
                </a:cubicBezTo>
                <a:cubicBezTo>
                  <a:pt x="26" y="67"/>
                  <a:pt x="26" y="67"/>
                  <a:pt x="26" y="67"/>
                </a:cubicBezTo>
                <a:cubicBezTo>
                  <a:pt x="28" y="67"/>
                  <a:pt x="30" y="65"/>
                  <a:pt x="30" y="63"/>
                </a:cubicBezTo>
                <a:cubicBezTo>
                  <a:pt x="30" y="30"/>
                  <a:pt x="30" y="30"/>
                  <a:pt x="30" y="30"/>
                </a:cubicBezTo>
                <a:cubicBezTo>
                  <a:pt x="30" y="28"/>
                  <a:pt x="28" y="26"/>
                  <a:pt x="26" y="26"/>
                </a:cubicBezTo>
                <a:close/>
                <a:moveTo>
                  <a:pt x="43" y="32"/>
                </a:moveTo>
                <a:cubicBezTo>
                  <a:pt x="39" y="32"/>
                  <a:pt x="39" y="32"/>
                  <a:pt x="39" y="32"/>
                </a:cubicBezTo>
                <a:cubicBezTo>
                  <a:pt x="37" y="32"/>
                  <a:pt x="35" y="34"/>
                  <a:pt x="35" y="36"/>
                </a:cubicBezTo>
                <a:cubicBezTo>
                  <a:pt x="35" y="63"/>
                  <a:pt x="35" y="63"/>
                  <a:pt x="35" y="63"/>
                </a:cubicBezTo>
                <a:cubicBezTo>
                  <a:pt x="35" y="65"/>
                  <a:pt x="37" y="67"/>
                  <a:pt x="39" y="67"/>
                </a:cubicBezTo>
                <a:cubicBezTo>
                  <a:pt x="43" y="67"/>
                  <a:pt x="43" y="67"/>
                  <a:pt x="43" y="67"/>
                </a:cubicBezTo>
                <a:cubicBezTo>
                  <a:pt x="45" y="67"/>
                  <a:pt x="47" y="65"/>
                  <a:pt x="47" y="63"/>
                </a:cubicBezTo>
                <a:cubicBezTo>
                  <a:pt x="47" y="36"/>
                  <a:pt x="47" y="36"/>
                  <a:pt x="47" y="36"/>
                </a:cubicBezTo>
                <a:cubicBezTo>
                  <a:pt x="47" y="34"/>
                  <a:pt x="45" y="32"/>
                  <a:pt x="43" y="32"/>
                </a:cubicBezTo>
                <a:close/>
                <a:moveTo>
                  <a:pt x="60" y="18"/>
                </a:moveTo>
                <a:cubicBezTo>
                  <a:pt x="56" y="18"/>
                  <a:pt x="56" y="18"/>
                  <a:pt x="56" y="18"/>
                </a:cubicBezTo>
                <a:cubicBezTo>
                  <a:pt x="54" y="18"/>
                  <a:pt x="52" y="20"/>
                  <a:pt x="52" y="22"/>
                </a:cubicBezTo>
                <a:cubicBezTo>
                  <a:pt x="52" y="63"/>
                  <a:pt x="52" y="63"/>
                  <a:pt x="52" y="63"/>
                </a:cubicBezTo>
                <a:cubicBezTo>
                  <a:pt x="52" y="65"/>
                  <a:pt x="54" y="67"/>
                  <a:pt x="56" y="67"/>
                </a:cubicBezTo>
                <a:cubicBezTo>
                  <a:pt x="60" y="67"/>
                  <a:pt x="60" y="67"/>
                  <a:pt x="60" y="67"/>
                </a:cubicBezTo>
                <a:cubicBezTo>
                  <a:pt x="62" y="67"/>
                  <a:pt x="64" y="65"/>
                  <a:pt x="64" y="63"/>
                </a:cubicBezTo>
                <a:cubicBezTo>
                  <a:pt x="64" y="22"/>
                  <a:pt x="64" y="22"/>
                  <a:pt x="64" y="22"/>
                </a:cubicBezTo>
                <a:cubicBezTo>
                  <a:pt x="64" y="20"/>
                  <a:pt x="62" y="18"/>
                  <a:pt x="60" y="18"/>
                </a:cubicBezTo>
                <a:close/>
                <a:moveTo>
                  <a:pt x="21" y="13"/>
                </a:moveTo>
                <a:cubicBezTo>
                  <a:pt x="41" y="27"/>
                  <a:pt x="41" y="27"/>
                  <a:pt x="41" y="27"/>
                </a:cubicBezTo>
                <a:cubicBezTo>
                  <a:pt x="58" y="5"/>
                  <a:pt x="58" y="5"/>
                  <a:pt x="58" y="5"/>
                </a:cubicBezTo>
                <a:cubicBezTo>
                  <a:pt x="60" y="6"/>
                  <a:pt x="60" y="6"/>
                  <a:pt x="60" y="6"/>
                </a:cubicBezTo>
                <a:cubicBezTo>
                  <a:pt x="60" y="0"/>
                  <a:pt x="60" y="0"/>
                  <a:pt x="60" y="0"/>
                </a:cubicBezTo>
                <a:cubicBezTo>
                  <a:pt x="55" y="3"/>
                  <a:pt x="55" y="3"/>
                  <a:pt x="55" y="3"/>
                </a:cubicBezTo>
                <a:cubicBezTo>
                  <a:pt x="56" y="4"/>
                  <a:pt x="56" y="4"/>
                  <a:pt x="56" y="4"/>
                </a:cubicBezTo>
                <a:cubicBezTo>
                  <a:pt x="40" y="23"/>
                  <a:pt x="40" y="23"/>
                  <a:pt x="40" y="23"/>
                </a:cubicBezTo>
                <a:cubicBezTo>
                  <a:pt x="21" y="10"/>
                  <a:pt x="21" y="10"/>
                  <a:pt x="21" y="10"/>
                </a:cubicBezTo>
                <a:cubicBezTo>
                  <a:pt x="0" y="29"/>
                  <a:pt x="0" y="29"/>
                  <a:pt x="0" y="29"/>
                </a:cubicBezTo>
                <a:cubicBezTo>
                  <a:pt x="2" y="31"/>
                  <a:pt x="2" y="31"/>
                  <a:pt x="2" y="31"/>
                </a:cubicBezTo>
                <a:lnTo>
                  <a:pt x="21" y="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lIns="321064" tIns="160532" rIns="321064" bIns="160532"/>
          <a:lstStyle/>
          <a:p>
            <a:pPr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930">
              <a:latin typeface="+mn-lt"/>
            </a:endParaRP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B43F56E4-E3DF-4FC0-A3B9-98FFC263369A}"/>
              </a:ext>
            </a:extLst>
          </p:cNvPr>
          <p:cNvSpPr/>
          <p:nvPr/>
        </p:nvSpPr>
        <p:spPr>
          <a:xfrm>
            <a:off x="5213142" y="2429176"/>
            <a:ext cx="896969" cy="338554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lvl="0" defTabSz="895255">
              <a:buClr>
                <a:srgbClr val="1F497D"/>
              </a:buClr>
              <a:defRPr/>
            </a:pPr>
            <a:r>
              <a:rPr lang="en-US" sz="500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  <a:cs typeface="Arial" panose="020B0604020202020204" pitchFamily="34" charset="0"/>
              </a:rPr>
              <a:t>FUNCTIONAL ISSUES</a:t>
            </a:r>
          </a:p>
          <a:p>
            <a:pPr lvl="0" defTabSz="895255">
              <a:buClr>
                <a:srgbClr val="1F497D"/>
              </a:buClr>
              <a:defRPr/>
            </a:pPr>
            <a:endParaRPr lang="en-US" sz="600" dirty="0">
              <a:solidFill>
                <a:schemeClr val="bg1">
                  <a:lumMod val="50000"/>
                </a:schemeClr>
              </a:solidFill>
              <a:latin typeface="Aharoni" panose="02010803020104030203" pitchFamily="2" charset="-79"/>
              <a:ea typeface="Arial Unicode MS" pitchFamily="34" charset="-128"/>
              <a:cs typeface="Aharoni" panose="02010803020104030203" pitchFamily="2" charset="-79"/>
            </a:endParaRPr>
          </a:p>
        </p:txBody>
      </p:sp>
      <p:sp>
        <p:nvSpPr>
          <p:cNvPr id="271" name="Freeform 7">
            <a:extLst>
              <a:ext uri="{FF2B5EF4-FFF2-40B4-BE49-F238E27FC236}">
                <a16:creationId xmlns:a16="http://schemas.microsoft.com/office/drawing/2014/main" id="{1EDE348D-68DD-4A4E-B5B6-602B29BE717D}"/>
              </a:ext>
            </a:extLst>
          </p:cNvPr>
          <p:cNvSpPr>
            <a:spLocks noEditPoints="1"/>
          </p:cNvSpPr>
          <p:nvPr/>
        </p:nvSpPr>
        <p:spPr bwMode="auto">
          <a:xfrm>
            <a:off x="5061407" y="2663014"/>
            <a:ext cx="154746" cy="166048"/>
          </a:xfrm>
          <a:custGeom>
            <a:avLst/>
            <a:gdLst>
              <a:gd name="T0" fmla="*/ 13 w 64"/>
              <a:gd name="T1" fmla="*/ 45 h 67"/>
              <a:gd name="T2" fmla="*/ 13 w 64"/>
              <a:gd name="T3" fmla="*/ 63 h 67"/>
              <a:gd name="T4" fmla="*/ 9 w 64"/>
              <a:gd name="T5" fmla="*/ 67 h 67"/>
              <a:gd name="T6" fmla="*/ 5 w 64"/>
              <a:gd name="T7" fmla="*/ 67 h 67"/>
              <a:gd name="T8" fmla="*/ 1 w 64"/>
              <a:gd name="T9" fmla="*/ 63 h 67"/>
              <a:gd name="T10" fmla="*/ 1 w 64"/>
              <a:gd name="T11" fmla="*/ 45 h 67"/>
              <a:gd name="T12" fmla="*/ 5 w 64"/>
              <a:gd name="T13" fmla="*/ 41 h 67"/>
              <a:gd name="T14" fmla="*/ 9 w 64"/>
              <a:gd name="T15" fmla="*/ 41 h 67"/>
              <a:gd name="T16" fmla="*/ 13 w 64"/>
              <a:gd name="T17" fmla="*/ 45 h 67"/>
              <a:gd name="T18" fmla="*/ 26 w 64"/>
              <a:gd name="T19" fmla="*/ 26 h 67"/>
              <a:gd name="T20" fmla="*/ 22 w 64"/>
              <a:gd name="T21" fmla="*/ 26 h 67"/>
              <a:gd name="T22" fmla="*/ 18 w 64"/>
              <a:gd name="T23" fmla="*/ 30 h 67"/>
              <a:gd name="T24" fmla="*/ 18 w 64"/>
              <a:gd name="T25" fmla="*/ 63 h 67"/>
              <a:gd name="T26" fmla="*/ 22 w 64"/>
              <a:gd name="T27" fmla="*/ 67 h 67"/>
              <a:gd name="T28" fmla="*/ 26 w 64"/>
              <a:gd name="T29" fmla="*/ 67 h 67"/>
              <a:gd name="T30" fmla="*/ 30 w 64"/>
              <a:gd name="T31" fmla="*/ 63 h 67"/>
              <a:gd name="T32" fmla="*/ 30 w 64"/>
              <a:gd name="T33" fmla="*/ 30 h 67"/>
              <a:gd name="T34" fmla="*/ 26 w 64"/>
              <a:gd name="T35" fmla="*/ 26 h 67"/>
              <a:gd name="T36" fmla="*/ 43 w 64"/>
              <a:gd name="T37" fmla="*/ 32 h 67"/>
              <a:gd name="T38" fmla="*/ 39 w 64"/>
              <a:gd name="T39" fmla="*/ 32 h 67"/>
              <a:gd name="T40" fmla="*/ 35 w 64"/>
              <a:gd name="T41" fmla="*/ 36 h 67"/>
              <a:gd name="T42" fmla="*/ 35 w 64"/>
              <a:gd name="T43" fmla="*/ 63 h 67"/>
              <a:gd name="T44" fmla="*/ 39 w 64"/>
              <a:gd name="T45" fmla="*/ 67 h 67"/>
              <a:gd name="T46" fmla="*/ 43 w 64"/>
              <a:gd name="T47" fmla="*/ 67 h 67"/>
              <a:gd name="T48" fmla="*/ 47 w 64"/>
              <a:gd name="T49" fmla="*/ 63 h 67"/>
              <a:gd name="T50" fmla="*/ 47 w 64"/>
              <a:gd name="T51" fmla="*/ 36 h 67"/>
              <a:gd name="T52" fmla="*/ 43 w 64"/>
              <a:gd name="T53" fmla="*/ 32 h 67"/>
              <a:gd name="T54" fmla="*/ 60 w 64"/>
              <a:gd name="T55" fmla="*/ 18 h 67"/>
              <a:gd name="T56" fmla="*/ 56 w 64"/>
              <a:gd name="T57" fmla="*/ 18 h 67"/>
              <a:gd name="T58" fmla="*/ 52 w 64"/>
              <a:gd name="T59" fmla="*/ 22 h 67"/>
              <a:gd name="T60" fmla="*/ 52 w 64"/>
              <a:gd name="T61" fmla="*/ 63 h 67"/>
              <a:gd name="T62" fmla="*/ 56 w 64"/>
              <a:gd name="T63" fmla="*/ 67 h 67"/>
              <a:gd name="T64" fmla="*/ 60 w 64"/>
              <a:gd name="T65" fmla="*/ 67 h 67"/>
              <a:gd name="T66" fmla="*/ 64 w 64"/>
              <a:gd name="T67" fmla="*/ 63 h 67"/>
              <a:gd name="T68" fmla="*/ 64 w 64"/>
              <a:gd name="T69" fmla="*/ 22 h 67"/>
              <a:gd name="T70" fmla="*/ 60 w 64"/>
              <a:gd name="T71" fmla="*/ 18 h 67"/>
              <a:gd name="T72" fmla="*/ 21 w 64"/>
              <a:gd name="T73" fmla="*/ 13 h 67"/>
              <a:gd name="T74" fmla="*/ 41 w 64"/>
              <a:gd name="T75" fmla="*/ 27 h 67"/>
              <a:gd name="T76" fmla="*/ 58 w 64"/>
              <a:gd name="T77" fmla="*/ 5 h 67"/>
              <a:gd name="T78" fmla="*/ 60 w 64"/>
              <a:gd name="T79" fmla="*/ 6 h 67"/>
              <a:gd name="T80" fmla="*/ 60 w 64"/>
              <a:gd name="T81" fmla="*/ 0 h 67"/>
              <a:gd name="T82" fmla="*/ 55 w 64"/>
              <a:gd name="T83" fmla="*/ 3 h 67"/>
              <a:gd name="T84" fmla="*/ 56 w 64"/>
              <a:gd name="T85" fmla="*/ 4 h 67"/>
              <a:gd name="T86" fmla="*/ 40 w 64"/>
              <a:gd name="T87" fmla="*/ 23 h 67"/>
              <a:gd name="T88" fmla="*/ 21 w 64"/>
              <a:gd name="T89" fmla="*/ 10 h 67"/>
              <a:gd name="T90" fmla="*/ 0 w 64"/>
              <a:gd name="T91" fmla="*/ 29 h 67"/>
              <a:gd name="T92" fmla="*/ 2 w 64"/>
              <a:gd name="T93" fmla="*/ 31 h 67"/>
              <a:gd name="T94" fmla="*/ 21 w 64"/>
              <a:gd name="T95" fmla="*/ 1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4" h="67">
                <a:moveTo>
                  <a:pt x="13" y="45"/>
                </a:moveTo>
                <a:cubicBezTo>
                  <a:pt x="13" y="63"/>
                  <a:pt x="13" y="63"/>
                  <a:pt x="13" y="63"/>
                </a:cubicBezTo>
                <a:cubicBezTo>
                  <a:pt x="13" y="65"/>
                  <a:pt x="11" y="67"/>
                  <a:pt x="9" y="67"/>
                </a:cubicBezTo>
                <a:cubicBezTo>
                  <a:pt x="5" y="67"/>
                  <a:pt x="5" y="67"/>
                  <a:pt x="5" y="67"/>
                </a:cubicBezTo>
                <a:cubicBezTo>
                  <a:pt x="3" y="67"/>
                  <a:pt x="1" y="65"/>
                  <a:pt x="1" y="63"/>
                </a:cubicBezTo>
                <a:cubicBezTo>
                  <a:pt x="1" y="45"/>
                  <a:pt x="1" y="45"/>
                  <a:pt x="1" y="45"/>
                </a:cubicBezTo>
                <a:cubicBezTo>
                  <a:pt x="1" y="43"/>
                  <a:pt x="3" y="41"/>
                  <a:pt x="5" y="41"/>
                </a:cubicBezTo>
                <a:cubicBezTo>
                  <a:pt x="9" y="41"/>
                  <a:pt x="9" y="41"/>
                  <a:pt x="9" y="41"/>
                </a:cubicBezTo>
                <a:cubicBezTo>
                  <a:pt x="11" y="41"/>
                  <a:pt x="13" y="43"/>
                  <a:pt x="13" y="45"/>
                </a:cubicBezTo>
                <a:close/>
                <a:moveTo>
                  <a:pt x="26" y="26"/>
                </a:moveTo>
                <a:cubicBezTo>
                  <a:pt x="22" y="26"/>
                  <a:pt x="22" y="26"/>
                  <a:pt x="22" y="26"/>
                </a:cubicBezTo>
                <a:cubicBezTo>
                  <a:pt x="20" y="26"/>
                  <a:pt x="18" y="28"/>
                  <a:pt x="18" y="30"/>
                </a:cubicBezTo>
                <a:cubicBezTo>
                  <a:pt x="18" y="63"/>
                  <a:pt x="18" y="63"/>
                  <a:pt x="18" y="63"/>
                </a:cubicBezTo>
                <a:cubicBezTo>
                  <a:pt x="18" y="65"/>
                  <a:pt x="20" y="67"/>
                  <a:pt x="22" y="67"/>
                </a:cubicBezTo>
                <a:cubicBezTo>
                  <a:pt x="26" y="67"/>
                  <a:pt x="26" y="67"/>
                  <a:pt x="26" y="67"/>
                </a:cubicBezTo>
                <a:cubicBezTo>
                  <a:pt x="28" y="67"/>
                  <a:pt x="30" y="65"/>
                  <a:pt x="30" y="63"/>
                </a:cubicBezTo>
                <a:cubicBezTo>
                  <a:pt x="30" y="30"/>
                  <a:pt x="30" y="30"/>
                  <a:pt x="30" y="30"/>
                </a:cubicBezTo>
                <a:cubicBezTo>
                  <a:pt x="30" y="28"/>
                  <a:pt x="28" y="26"/>
                  <a:pt x="26" y="26"/>
                </a:cubicBezTo>
                <a:close/>
                <a:moveTo>
                  <a:pt x="43" y="32"/>
                </a:moveTo>
                <a:cubicBezTo>
                  <a:pt x="39" y="32"/>
                  <a:pt x="39" y="32"/>
                  <a:pt x="39" y="32"/>
                </a:cubicBezTo>
                <a:cubicBezTo>
                  <a:pt x="37" y="32"/>
                  <a:pt x="35" y="34"/>
                  <a:pt x="35" y="36"/>
                </a:cubicBezTo>
                <a:cubicBezTo>
                  <a:pt x="35" y="63"/>
                  <a:pt x="35" y="63"/>
                  <a:pt x="35" y="63"/>
                </a:cubicBezTo>
                <a:cubicBezTo>
                  <a:pt x="35" y="65"/>
                  <a:pt x="37" y="67"/>
                  <a:pt x="39" y="67"/>
                </a:cubicBezTo>
                <a:cubicBezTo>
                  <a:pt x="43" y="67"/>
                  <a:pt x="43" y="67"/>
                  <a:pt x="43" y="67"/>
                </a:cubicBezTo>
                <a:cubicBezTo>
                  <a:pt x="45" y="67"/>
                  <a:pt x="47" y="65"/>
                  <a:pt x="47" y="63"/>
                </a:cubicBezTo>
                <a:cubicBezTo>
                  <a:pt x="47" y="36"/>
                  <a:pt x="47" y="36"/>
                  <a:pt x="47" y="36"/>
                </a:cubicBezTo>
                <a:cubicBezTo>
                  <a:pt x="47" y="34"/>
                  <a:pt x="45" y="32"/>
                  <a:pt x="43" y="32"/>
                </a:cubicBezTo>
                <a:close/>
                <a:moveTo>
                  <a:pt x="60" y="18"/>
                </a:moveTo>
                <a:cubicBezTo>
                  <a:pt x="56" y="18"/>
                  <a:pt x="56" y="18"/>
                  <a:pt x="56" y="18"/>
                </a:cubicBezTo>
                <a:cubicBezTo>
                  <a:pt x="54" y="18"/>
                  <a:pt x="52" y="20"/>
                  <a:pt x="52" y="22"/>
                </a:cubicBezTo>
                <a:cubicBezTo>
                  <a:pt x="52" y="63"/>
                  <a:pt x="52" y="63"/>
                  <a:pt x="52" y="63"/>
                </a:cubicBezTo>
                <a:cubicBezTo>
                  <a:pt x="52" y="65"/>
                  <a:pt x="54" y="67"/>
                  <a:pt x="56" y="67"/>
                </a:cubicBezTo>
                <a:cubicBezTo>
                  <a:pt x="60" y="67"/>
                  <a:pt x="60" y="67"/>
                  <a:pt x="60" y="67"/>
                </a:cubicBezTo>
                <a:cubicBezTo>
                  <a:pt x="62" y="67"/>
                  <a:pt x="64" y="65"/>
                  <a:pt x="64" y="63"/>
                </a:cubicBezTo>
                <a:cubicBezTo>
                  <a:pt x="64" y="22"/>
                  <a:pt x="64" y="22"/>
                  <a:pt x="64" y="22"/>
                </a:cubicBezTo>
                <a:cubicBezTo>
                  <a:pt x="64" y="20"/>
                  <a:pt x="62" y="18"/>
                  <a:pt x="60" y="18"/>
                </a:cubicBezTo>
                <a:close/>
                <a:moveTo>
                  <a:pt x="21" y="13"/>
                </a:moveTo>
                <a:cubicBezTo>
                  <a:pt x="41" y="27"/>
                  <a:pt x="41" y="27"/>
                  <a:pt x="41" y="27"/>
                </a:cubicBezTo>
                <a:cubicBezTo>
                  <a:pt x="58" y="5"/>
                  <a:pt x="58" y="5"/>
                  <a:pt x="58" y="5"/>
                </a:cubicBezTo>
                <a:cubicBezTo>
                  <a:pt x="60" y="6"/>
                  <a:pt x="60" y="6"/>
                  <a:pt x="60" y="6"/>
                </a:cubicBezTo>
                <a:cubicBezTo>
                  <a:pt x="60" y="0"/>
                  <a:pt x="60" y="0"/>
                  <a:pt x="60" y="0"/>
                </a:cubicBezTo>
                <a:cubicBezTo>
                  <a:pt x="55" y="3"/>
                  <a:pt x="55" y="3"/>
                  <a:pt x="55" y="3"/>
                </a:cubicBezTo>
                <a:cubicBezTo>
                  <a:pt x="56" y="4"/>
                  <a:pt x="56" y="4"/>
                  <a:pt x="56" y="4"/>
                </a:cubicBezTo>
                <a:cubicBezTo>
                  <a:pt x="40" y="23"/>
                  <a:pt x="40" y="23"/>
                  <a:pt x="40" y="23"/>
                </a:cubicBezTo>
                <a:cubicBezTo>
                  <a:pt x="21" y="10"/>
                  <a:pt x="21" y="10"/>
                  <a:pt x="21" y="10"/>
                </a:cubicBezTo>
                <a:cubicBezTo>
                  <a:pt x="0" y="29"/>
                  <a:pt x="0" y="29"/>
                  <a:pt x="0" y="29"/>
                </a:cubicBezTo>
                <a:cubicBezTo>
                  <a:pt x="2" y="31"/>
                  <a:pt x="2" y="31"/>
                  <a:pt x="2" y="31"/>
                </a:cubicBezTo>
                <a:lnTo>
                  <a:pt x="21" y="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lIns="321064" tIns="160532" rIns="321064" bIns="160532"/>
          <a:lstStyle/>
          <a:p>
            <a:pPr defTabSz="417643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930">
              <a:latin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C80397-60F0-4135-B5E1-BEE312F9A9EA}"/>
              </a:ext>
            </a:extLst>
          </p:cNvPr>
          <p:cNvSpPr/>
          <p:nvPr/>
        </p:nvSpPr>
        <p:spPr>
          <a:xfrm>
            <a:off x="5202226" y="2688599"/>
            <a:ext cx="601447" cy="246221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pPr lvl="0" defTabSz="895255">
              <a:buClr>
                <a:srgbClr val="1F497D"/>
              </a:buClr>
              <a:defRPr/>
            </a:pPr>
            <a:r>
              <a:rPr lang="en-US" sz="500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  <a:cs typeface="Aharoni" panose="02010803020104030203" pitchFamily="2" charset="-79"/>
              </a:rPr>
              <a:t>TECHNICAL</a:t>
            </a:r>
          </a:p>
          <a:p>
            <a:pPr lvl="0" defTabSz="895255">
              <a:buClr>
                <a:srgbClr val="1F497D"/>
              </a:buClr>
              <a:defRPr/>
            </a:pPr>
            <a:r>
              <a:rPr lang="en-US" sz="500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  <a:ea typeface="Arial Unicode MS" pitchFamily="34" charset="-128"/>
                <a:cs typeface="Aharoni" panose="02010803020104030203" pitchFamily="2" charset="-79"/>
              </a:rPr>
              <a:t> ISSUES</a:t>
            </a:r>
          </a:p>
        </p:txBody>
      </p:sp>
      <p:sp>
        <p:nvSpPr>
          <p:cNvPr id="272" name="ZoneTexte 271">
            <a:extLst>
              <a:ext uri="{FF2B5EF4-FFF2-40B4-BE49-F238E27FC236}">
                <a16:creationId xmlns:a16="http://schemas.microsoft.com/office/drawing/2014/main" id="{D092A91C-3800-46F7-A633-61514963B908}"/>
              </a:ext>
            </a:extLst>
          </p:cNvPr>
          <p:cNvSpPr txBox="1"/>
          <p:nvPr/>
        </p:nvSpPr>
        <p:spPr>
          <a:xfrm>
            <a:off x="6874696" y="1290519"/>
            <a:ext cx="10558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800">
                <a:solidFill>
                  <a:srgbClr val="C0504D"/>
                </a:solidFill>
                <a:latin typeface="Michelin Black" panose="02000000000000000000" pitchFamily="50" charset="0"/>
              </a:defRPr>
            </a:lvl1pPr>
          </a:lstStyle>
          <a:p>
            <a:pPr algn="ctr">
              <a:defRPr/>
            </a:pPr>
            <a:r>
              <a:rPr lang="fr-FR" sz="500" b="1" dirty="0">
                <a:solidFill>
                  <a:srgbClr val="27509B"/>
                </a:solidFill>
                <a:cs typeface="Aharoni" panose="02010803020104030203" pitchFamily="2" charset="-79"/>
              </a:rPr>
              <a:t>Enterprise</a:t>
            </a:r>
          </a:p>
          <a:p>
            <a:pPr algn="ctr">
              <a:defRPr/>
            </a:pPr>
            <a:r>
              <a:rPr lang="fr-FR" sz="500" b="1" dirty="0">
                <a:solidFill>
                  <a:srgbClr val="27509B"/>
                </a:solidFill>
                <a:cs typeface="Aharoni" panose="02010803020104030203" pitchFamily="2" charset="-79"/>
              </a:rPr>
              <a:t>ARCHITECT</a:t>
            </a:r>
            <a:endParaRPr lang="en-US" sz="500" b="1" dirty="0">
              <a:solidFill>
                <a:srgbClr val="27509B"/>
              </a:solidFill>
              <a:cs typeface="Aharoni" panose="02010803020104030203" pitchFamily="2" charset="-79"/>
            </a:endParaRPr>
          </a:p>
        </p:txBody>
      </p:sp>
      <p:pic>
        <p:nvPicPr>
          <p:cNvPr id="276" name="Image 27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0863" y="2125806"/>
            <a:ext cx="372662" cy="372662"/>
          </a:xfrm>
          <a:prstGeom prst="rect">
            <a:avLst/>
          </a:prstGeom>
        </p:spPr>
      </p:pic>
      <p:sp>
        <p:nvSpPr>
          <p:cNvPr id="273" name="ZoneTexte 272">
            <a:extLst>
              <a:ext uri="{FF2B5EF4-FFF2-40B4-BE49-F238E27FC236}">
                <a16:creationId xmlns:a16="http://schemas.microsoft.com/office/drawing/2014/main" id="{D092A91C-3800-46F7-A633-61514963B908}"/>
              </a:ext>
            </a:extLst>
          </p:cNvPr>
          <p:cNvSpPr txBox="1"/>
          <p:nvPr/>
        </p:nvSpPr>
        <p:spPr>
          <a:xfrm>
            <a:off x="5770068" y="2396066"/>
            <a:ext cx="72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800">
                <a:solidFill>
                  <a:srgbClr val="C0504D"/>
                </a:solidFill>
                <a:latin typeface="Michelin Black" panose="02000000000000000000" pitchFamily="50" charset="0"/>
              </a:defRPr>
            </a:lvl1pPr>
          </a:lstStyle>
          <a:p>
            <a:pPr algn="ctr">
              <a:defRPr/>
            </a:pPr>
            <a:r>
              <a:rPr lang="fr-FR" sz="500" b="1" dirty="0">
                <a:solidFill>
                  <a:srgbClr val="27509B"/>
                </a:solidFill>
                <a:cs typeface="Aharoni" panose="02010803020104030203" pitchFamily="2" charset="-79"/>
              </a:rPr>
              <a:t>PRODUCT</a:t>
            </a:r>
          </a:p>
          <a:p>
            <a:pPr algn="ctr">
              <a:defRPr/>
            </a:pPr>
            <a:r>
              <a:rPr lang="fr-FR" sz="500" b="1" dirty="0">
                <a:solidFill>
                  <a:srgbClr val="27509B"/>
                </a:solidFill>
                <a:cs typeface="Aharoni" panose="02010803020104030203" pitchFamily="2" charset="-79"/>
              </a:rPr>
              <a:t>ARCHITECT</a:t>
            </a:r>
            <a:endParaRPr lang="en-US" sz="500" b="1" dirty="0">
              <a:solidFill>
                <a:srgbClr val="27509B"/>
              </a:solidFill>
              <a:cs typeface="Aharoni" panose="02010803020104030203" pitchFamily="2" charset="-79"/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5733825" y="1627620"/>
            <a:ext cx="848238" cy="517062"/>
            <a:chOff x="8330669" y="2877354"/>
            <a:chExt cx="848238" cy="517062"/>
          </a:xfrm>
        </p:grpSpPr>
        <p:pic>
          <p:nvPicPr>
            <p:cNvPr id="275" name="Image 274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59879" y="2877354"/>
              <a:ext cx="354367" cy="354367"/>
            </a:xfrm>
            <a:prstGeom prst="rect">
              <a:avLst/>
            </a:prstGeom>
          </p:spPr>
        </p:pic>
        <p:sp>
          <p:nvSpPr>
            <p:cNvPr id="277" name="ZoneTexte 276">
              <a:extLst>
                <a:ext uri="{FF2B5EF4-FFF2-40B4-BE49-F238E27FC236}">
                  <a16:creationId xmlns:a16="http://schemas.microsoft.com/office/drawing/2014/main" id="{D092A91C-3800-46F7-A633-61514963B908}"/>
                </a:ext>
              </a:extLst>
            </p:cNvPr>
            <p:cNvSpPr txBox="1"/>
            <p:nvPr/>
          </p:nvSpPr>
          <p:spPr>
            <a:xfrm>
              <a:off x="8330669" y="3148195"/>
              <a:ext cx="84823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800">
                  <a:solidFill>
                    <a:srgbClr val="C0504D"/>
                  </a:solidFill>
                  <a:latin typeface="Michelin Black" panose="02000000000000000000" pitchFamily="50" charset="0"/>
                </a:defRPr>
              </a:lvl1pPr>
            </a:lstStyle>
            <a:p>
              <a:pPr algn="ctr">
                <a:defRPr/>
              </a:pPr>
              <a:r>
                <a:rPr lang="fr-FR" sz="500" b="1" dirty="0">
                  <a:solidFill>
                    <a:srgbClr val="27509B"/>
                  </a:solidFill>
                  <a:cs typeface="Aharoni" panose="02010803020104030203" pitchFamily="2" charset="-79"/>
                </a:rPr>
                <a:t>Full </a:t>
              </a:r>
              <a:r>
                <a:rPr lang="fr-FR" sz="500" b="1" dirty="0" err="1">
                  <a:solidFill>
                    <a:srgbClr val="27509B"/>
                  </a:solidFill>
                  <a:cs typeface="Aharoni" panose="02010803020104030203" pitchFamily="2" charset="-79"/>
                </a:rPr>
                <a:t>stack</a:t>
              </a:r>
              <a:endParaRPr lang="fr-FR" sz="500" b="1" dirty="0">
                <a:solidFill>
                  <a:srgbClr val="27509B"/>
                </a:solidFill>
                <a:cs typeface="Aharoni" panose="02010803020104030203" pitchFamily="2" charset="-79"/>
              </a:endParaRPr>
            </a:p>
            <a:p>
              <a:pPr algn="ctr">
                <a:defRPr/>
              </a:pPr>
              <a:r>
                <a:rPr lang="fr-FR" sz="500" b="1" dirty="0">
                  <a:solidFill>
                    <a:srgbClr val="27509B"/>
                  </a:solidFill>
                  <a:cs typeface="Aharoni" panose="02010803020104030203" pitchFamily="2" charset="-79"/>
                </a:rPr>
                <a:t>ARCHITECT</a:t>
              </a:r>
              <a:endParaRPr lang="en-US" sz="500" b="1" dirty="0">
                <a:solidFill>
                  <a:srgbClr val="27509B"/>
                </a:solidFill>
                <a:cs typeface="Aharoni" panose="02010803020104030203" pitchFamily="2" charset="-79"/>
              </a:endParaRPr>
            </a:p>
          </p:txBody>
        </p:sp>
      </p:grpSp>
      <p:pic>
        <p:nvPicPr>
          <p:cNvPr id="13" name="Image 1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8998" y="2607677"/>
            <a:ext cx="364091" cy="364091"/>
          </a:xfrm>
          <a:prstGeom prst="rect">
            <a:avLst/>
          </a:prstGeom>
        </p:spPr>
      </p:pic>
      <p:sp>
        <p:nvSpPr>
          <p:cNvPr id="267" name="ZoneTexte 266">
            <a:extLst>
              <a:ext uri="{FF2B5EF4-FFF2-40B4-BE49-F238E27FC236}">
                <a16:creationId xmlns:a16="http://schemas.microsoft.com/office/drawing/2014/main" id="{01BF34F9-1116-4A28-9F61-DC818AF41CA9}"/>
              </a:ext>
            </a:extLst>
          </p:cNvPr>
          <p:cNvSpPr txBox="1"/>
          <p:nvPr/>
        </p:nvSpPr>
        <p:spPr>
          <a:xfrm>
            <a:off x="5805569" y="2899721"/>
            <a:ext cx="662361" cy="246221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u="none" strike="noStrike" kern="1200" cap="none" spc="0" normalizeH="0" baseline="0" noProof="0" dirty="0">
                <a:ln>
                  <a:noFill/>
                </a:ln>
                <a:solidFill>
                  <a:srgbClr val="27509B"/>
                </a:solidFill>
                <a:effectLst/>
                <a:uLnTx/>
                <a:uFillTx/>
                <a:latin typeface="Michelin Black" panose="02000000000000000000" pitchFamily="50" charset="0"/>
              </a:rPr>
              <a:t>TECH LEAD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0" dirty="0">
                <a:solidFill>
                  <a:srgbClr val="27509B"/>
                </a:solidFill>
                <a:latin typeface="Michelin Black" panose="02000000000000000000" pitchFamily="50" charset="0"/>
              </a:rPr>
              <a:t>SQUADS</a:t>
            </a:r>
            <a:endParaRPr kumimoji="0" lang="en-US" sz="500" u="none" strike="noStrike" kern="1200" cap="none" spc="0" normalizeH="0" baseline="0" noProof="0" dirty="0">
              <a:ln>
                <a:noFill/>
              </a:ln>
              <a:solidFill>
                <a:srgbClr val="27509B"/>
              </a:solidFill>
              <a:effectLst/>
              <a:uLnTx/>
              <a:uFillTx/>
              <a:latin typeface="Michelin Black" panose="02000000000000000000" pitchFamily="50" charset="0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8565" y="1829546"/>
            <a:ext cx="466406" cy="435721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BAEEFFAE-7DA0-40DC-8F4C-178BF32C903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193771" y="879437"/>
            <a:ext cx="421299" cy="421299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00A5ACC2-DC3D-48F3-91D7-970DB9F3E94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5700" y="24415"/>
            <a:ext cx="1359887" cy="1902093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BD80DD09-F03A-4D35-A55B-E2F9A8830E5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9410" y="4553551"/>
            <a:ext cx="1436370" cy="582865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E3DC6244-D2EB-4281-8961-2564A571D508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827"/>
          <a:stretch/>
        </p:blipFill>
        <p:spPr>
          <a:xfrm>
            <a:off x="8726865" y="4978004"/>
            <a:ext cx="417135" cy="165496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20A3D23C-5641-423D-B82B-809D700849D1}"/>
              </a:ext>
            </a:extLst>
          </p:cNvPr>
          <p:cNvSpPr txBox="1"/>
          <p:nvPr/>
        </p:nvSpPr>
        <p:spPr>
          <a:xfrm>
            <a:off x="8628538" y="4881836"/>
            <a:ext cx="426720" cy="1384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00" dirty="0">
                <a:solidFill>
                  <a:srgbClr val="95C11F"/>
                </a:solidFill>
                <a:latin typeface="Gotham Rounded Bold" pitchFamily="50" charset="0"/>
              </a:rPr>
              <a:t>DESIGN BY :</a:t>
            </a:r>
          </a:p>
        </p:txBody>
      </p:sp>
    </p:spTree>
    <p:extLst>
      <p:ext uri="{BB962C8B-B14F-4D97-AF65-F5344CB8AC3E}">
        <p14:creationId xmlns:p14="http://schemas.microsoft.com/office/powerpoint/2010/main" val="1560478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3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3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3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3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3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3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3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6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6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6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2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2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2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2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2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50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0" dur="50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1" dur="50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2" dur="500"/>
                                        <p:tgtEl>
                                          <p:spTgt spid="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500" fill="hold"/>
                                        <p:tgtEl>
                                          <p:spTgt spid="2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0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8" fill="hold">
                      <p:stCondLst>
                        <p:cond delay="indefinite"/>
                      </p:stCondLst>
                      <p:childTnLst>
                        <p:par>
                          <p:cTn id="189" fill="hold">
                            <p:stCondLst>
                              <p:cond delay="0"/>
                            </p:stCondLst>
                            <p:childTnLst>
                              <p:par>
                                <p:cTn id="19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5" grpId="0" animBg="1"/>
      <p:bldP spid="3" grpId="0" animBg="1"/>
      <p:bldP spid="320" grpId="0"/>
      <p:bldP spid="344" grpId="0"/>
      <p:bldP spid="346" grpId="0" animBg="1"/>
      <p:bldP spid="354" grpId="0"/>
      <p:bldP spid="355" grpId="0"/>
      <p:bldP spid="360" grpId="0"/>
      <p:bldP spid="662" grpId="0" animBg="1"/>
      <p:bldP spid="345" grpId="0" animBg="1"/>
      <p:bldP spid="6" grpId="0" animBg="1"/>
      <p:bldP spid="673" grpId="0" animBg="1"/>
      <p:bldP spid="7" grpId="0"/>
      <p:bldP spid="678" grpId="0"/>
      <p:bldP spid="679" grpId="0"/>
      <p:bldP spid="680" grpId="0" animBg="1"/>
      <p:bldP spid="681" grpId="0" animBg="1"/>
      <p:bldP spid="682" grpId="0"/>
      <p:bldP spid="685" grpId="0"/>
      <p:bldP spid="686" grpId="0" animBg="1"/>
      <p:bldP spid="256" grpId="0"/>
      <p:bldP spid="257" grpId="0"/>
      <p:bldP spid="2" grpId="0"/>
      <p:bldP spid="8" grpId="0" animBg="1"/>
      <p:bldP spid="262" grpId="0"/>
      <p:bldP spid="263" grpId="0" animBg="1"/>
      <p:bldP spid="264" grpId="0"/>
      <p:bldP spid="265" grpId="0" animBg="1"/>
      <p:bldP spid="266" grpId="0"/>
      <p:bldP spid="271" grpId="0" animBg="1"/>
      <p:bldP spid="10" grpId="0"/>
      <p:bldP spid="273" grpId="0"/>
      <p:bldP spid="26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C97AAC-D16A-478F-95B1-E9944B8633B3}">
  <ds:schemaRefs>
    <ds:schemaRef ds:uri="http://purl.org/dc/dcmitype/"/>
    <ds:schemaRef ds:uri="http://www.w3.org/XML/1998/namespace"/>
    <ds:schemaRef ds:uri="e2e26994-5e48-4994-8c16-0b6f61c4bc8a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elements/1.1/"/>
    <ds:schemaRef ds:uri="9f09b4db-7fdb-4a79-a1ce-e7e1d5ac2b17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1FB2575-6FB0-4288-B531-03F42B60F5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9</Words>
  <Application>Microsoft Office PowerPoint</Application>
  <PresentationFormat>Affichage à l'écran (16:9)</PresentationFormat>
  <Paragraphs>74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22" baseType="lpstr">
      <vt:lpstr>Aharoni</vt:lpstr>
      <vt:lpstr>Arial</vt:lpstr>
      <vt:lpstr>Arial Black</vt:lpstr>
      <vt:lpstr>Calibri</vt:lpstr>
      <vt:lpstr>Gotham Rounded Bold</vt:lpstr>
      <vt:lpstr>Lucida Grande</vt:lpstr>
      <vt:lpstr>Michelin</vt:lpstr>
      <vt:lpstr>Michelin Black</vt:lpstr>
      <vt:lpstr>Michelin SemiBold</vt:lpstr>
      <vt:lpstr>Rounded Elegance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résentation PowerPoint</vt:lpstr>
    </vt:vector>
  </TitlesOfParts>
  <Company>GLUEND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Nicolas CHEVALIER</dc:creator>
  <cp:lastModifiedBy>nicolas chevalier</cp:lastModifiedBy>
  <cp:revision>572</cp:revision>
  <cp:lastPrinted>2020-01-14T15:27:55Z</cp:lastPrinted>
  <dcterms:modified xsi:type="dcterms:W3CDTF">2020-10-20T16:2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